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78"/>
  </p:notesMasterIdLst>
  <p:sldIdLst>
    <p:sldId id="256" r:id="rId2"/>
    <p:sldId id="274" r:id="rId3"/>
    <p:sldId id="257" r:id="rId4"/>
    <p:sldId id="429" r:id="rId5"/>
    <p:sldId id="430" r:id="rId6"/>
    <p:sldId id="340" r:id="rId7"/>
    <p:sldId id="335" r:id="rId8"/>
    <p:sldId id="336" r:id="rId9"/>
    <p:sldId id="337" r:id="rId10"/>
    <p:sldId id="338" r:id="rId11"/>
    <p:sldId id="319" r:id="rId12"/>
    <p:sldId id="419" r:id="rId13"/>
    <p:sldId id="420" r:id="rId14"/>
    <p:sldId id="460" r:id="rId15"/>
    <p:sldId id="459" r:id="rId16"/>
    <p:sldId id="320" r:id="rId17"/>
    <p:sldId id="321" r:id="rId18"/>
    <p:sldId id="431" r:id="rId19"/>
    <p:sldId id="323" r:id="rId20"/>
    <p:sldId id="439" r:id="rId21"/>
    <p:sldId id="334" r:id="rId22"/>
    <p:sldId id="281" r:id="rId23"/>
    <p:sldId id="301" r:id="rId24"/>
    <p:sldId id="284" r:id="rId25"/>
    <p:sldId id="476" r:id="rId26"/>
    <p:sldId id="342" r:id="rId27"/>
    <p:sldId id="453" r:id="rId28"/>
    <p:sldId id="372" r:id="rId29"/>
    <p:sldId id="348" r:id="rId30"/>
    <p:sldId id="349" r:id="rId31"/>
    <p:sldId id="350" r:id="rId32"/>
    <p:sldId id="351" r:id="rId33"/>
    <p:sldId id="352" r:id="rId34"/>
    <p:sldId id="353" r:id="rId35"/>
    <p:sldId id="354" r:id="rId36"/>
    <p:sldId id="355" r:id="rId37"/>
    <p:sldId id="356" r:id="rId38"/>
    <p:sldId id="446" r:id="rId39"/>
    <p:sldId id="357" r:id="rId40"/>
    <p:sldId id="367" r:id="rId41"/>
    <p:sldId id="368" r:id="rId42"/>
    <p:sldId id="369" r:id="rId43"/>
    <p:sldId id="370" r:id="rId44"/>
    <p:sldId id="371" r:id="rId45"/>
    <p:sldId id="358" r:id="rId46"/>
    <p:sldId id="359" r:id="rId47"/>
    <p:sldId id="360" r:id="rId48"/>
    <p:sldId id="448" r:id="rId49"/>
    <p:sldId id="465" r:id="rId50"/>
    <p:sldId id="462" r:id="rId51"/>
    <p:sldId id="434" r:id="rId52"/>
    <p:sldId id="435" r:id="rId53"/>
    <p:sldId id="447" r:id="rId54"/>
    <p:sldId id="436" r:id="rId55"/>
    <p:sldId id="477" r:id="rId56"/>
    <p:sldId id="444" r:id="rId57"/>
    <p:sldId id="445" r:id="rId58"/>
    <p:sldId id="346" r:id="rId59"/>
    <p:sldId id="379" r:id="rId60"/>
    <p:sldId id="463" r:id="rId61"/>
    <p:sldId id="389" r:id="rId62"/>
    <p:sldId id="464" r:id="rId63"/>
    <p:sldId id="397" r:id="rId64"/>
    <p:sldId id="466" r:id="rId65"/>
    <p:sldId id="467" r:id="rId66"/>
    <p:sldId id="468" r:id="rId67"/>
    <p:sldId id="407" r:id="rId68"/>
    <p:sldId id="410" r:id="rId69"/>
    <p:sldId id="415" r:id="rId70"/>
    <p:sldId id="469" r:id="rId71"/>
    <p:sldId id="470" r:id="rId72"/>
    <p:sldId id="471" r:id="rId73"/>
    <p:sldId id="472" r:id="rId74"/>
    <p:sldId id="473" r:id="rId75"/>
    <p:sldId id="292" r:id="rId76"/>
    <p:sldId id="426" r:id="rId77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00CC99"/>
    <a:srgbClr val="FF7C80"/>
    <a:srgbClr val="339966"/>
    <a:srgbClr val="66FF66"/>
    <a:srgbClr val="6699FF"/>
    <a:srgbClr val="B2FC9E"/>
    <a:srgbClr val="336699"/>
    <a:srgbClr val="CC6600"/>
    <a:srgbClr val="339933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3" autoAdjust="0"/>
    <p:restoredTop sz="99286" autoAdjust="0"/>
  </p:normalViewPr>
  <p:slideViewPr>
    <p:cSldViewPr>
      <p:cViewPr varScale="1">
        <p:scale>
          <a:sx n="92" d="100"/>
          <a:sy n="92" d="100"/>
        </p:scale>
        <p:origin x="-96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69232E-2"/>
          <c:y val="4.0667411958646801E-2"/>
          <c:w val="0.87319367961076821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FFFF99"/>
            </a:soli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2.9878408991189636E-2"/>
                  <c:y val="-1.7731433603360665E-2"/>
                </c:manualLayout>
              </c:layout>
              <c:showVal val="1"/>
            </c:dLbl>
            <c:dLbl>
              <c:idx val="1"/>
              <c:layout>
                <c:manualLayout>
                  <c:x val="-4.4817613486784922E-3"/>
                  <c:y val="-3.5462867206721038E-2"/>
                </c:manualLayout>
              </c:layout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795.5</c:v>
                </c:pt>
                <c:pt idx="1">
                  <c:v>1885.3</c:v>
                </c:pt>
                <c:pt idx="2">
                  <c:v>1768.4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00B0F0"/>
            </a:soli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2.5396647642511212E-2"/>
                  <c:y val="-2.7338719247980005E-2"/>
                </c:manualLayout>
              </c:layout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showVal val="1"/>
            </c:dLbl>
            <c:dLbl>
              <c:idx val="2"/>
              <c:layout>
                <c:manualLayout>
                  <c:x val="4.9299374835463192E-2"/>
                  <c:y val="-7.5991858300115981E-3"/>
                </c:manualLayout>
              </c:layout>
              <c:showVal val="1"/>
            </c:dLbl>
            <c:dLbl>
              <c:idx val="3"/>
              <c:layout>
                <c:manualLayout>
                  <c:x val="4.0335852138106004E-2"/>
                  <c:y val="-2.5330619433372092E-3"/>
                </c:manualLayout>
              </c:layout>
              <c:showVal val="1"/>
            </c:dLbl>
            <c:dLbl>
              <c:idx val="4"/>
              <c:layout>
                <c:manualLayout>
                  <c:x val="3.2866249890308605E-2"/>
                  <c:y val="-1.0132247773348634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793.7</c:v>
                </c:pt>
                <c:pt idx="1">
                  <c:v>1819.8</c:v>
                </c:pt>
                <c:pt idx="2">
                  <c:v>1768.4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gapDepth val="0"/>
        <c:shape val="cylinder"/>
        <c:axId val="35787520"/>
        <c:axId val="81173888"/>
        <c:axId val="0"/>
      </c:bar3DChart>
      <c:catAx>
        <c:axId val="35787520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2334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81173888"/>
        <c:crosses val="autoZero"/>
        <c:auto val="1"/>
        <c:lblAlgn val="ctr"/>
        <c:lblOffset val="100"/>
        <c:tickLblSkip val="1"/>
        <c:tickMarkSkip val="1"/>
      </c:catAx>
      <c:valAx>
        <c:axId val="81173888"/>
        <c:scaling>
          <c:orientation val="minMax"/>
        </c:scaling>
        <c:delete val="1"/>
        <c:axPos val="l"/>
        <c:numFmt formatCode="General" sourceLinked="1"/>
        <c:tickLblPos val="none"/>
        <c:crossAx val="35787520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layout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-9.3121041355876136E-2"/>
                  <c:y val="-0.3063226423342957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351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1 </a:t>
                    </a:r>
                  </a:p>
                  <a:p>
                    <a:r>
                      <a:rPr lang="ru-RU" dirty="0" smtClean="0"/>
                      <a:t>(76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1"/>
              <c:layout>
                <c:manualLayout>
                  <c:x val="0.10158659057004474"/>
                  <c:y val="-8.478573136038350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r>
                      <a:rPr lang="ru-RU" dirty="0" smtClean="0"/>
                      <a:t>17</a:t>
                    </a:r>
                    <a:r>
                      <a:rPr lang="en-US" dirty="0" smtClean="0"/>
                      <a:t>,3</a:t>
                    </a:r>
                    <a:endParaRPr lang="ru-RU" dirty="0" smtClean="0"/>
                  </a:p>
                  <a:p>
                    <a:r>
                      <a:rPr lang="ru-RU" dirty="0" smtClean="0"/>
                      <a:t>(24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51.1</c:v>
                </c:pt>
                <c:pt idx="1">
                  <c:v>417.3</c:v>
                </c:pt>
              </c:numCache>
            </c:numRef>
          </c:val>
        </c:ser>
        <c:dLbls>
          <c:showVal val="1"/>
        </c:dLbls>
      </c:pie3DChart>
    </c:plotArea>
    <c:legend>
      <c:legendPos val="b"/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896"/>
          <c:y val="3.437500000000001E-2"/>
          <c:w val="0.64375000000001781"/>
          <c:h val="0.96562500000001983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7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428E-2"/>
          <c:w val="0.90537698500051977"/>
          <c:h val="0.904057108906061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2.1829399650480592E-2"/>
                  <c:y val="9.91751311049163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8734081623245874E-2"/>
                  <c:y val="-0.20522491031183884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,</a:t>
                    </a:r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481571066101938"/>
                  <c:y val="-0.15888924884137756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/>
                      <a:t>9,4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.3</c:v>
                </c:pt>
                <c:pt idx="1">
                  <c:v>3.7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rgbClr val="EEA9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rgbClr val="F3774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0</c:v>
                </c:pt>
                <c:pt idx="1">
                  <c:v>01.01.2021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130</c:v>
                </c:pt>
                <c:pt idx="1">
                  <c:v>12392</c:v>
                </c:pt>
              </c:numCache>
            </c:numRef>
          </c:val>
        </c:ser>
        <c:gapWidth val="10"/>
        <c:overlap val="18"/>
        <c:axId val="118244864"/>
        <c:axId val="118246400"/>
      </c:barChart>
      <c:catAx>
        <c:axId val="118244864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18246400"/>
        <c:crosses val="autoZero"/>
        <c:auto val="1"/>
        <c:lblAlgn val="ctr"/>
        <c:lblOffset val="100"/>
      </c:catAx>
      <c:valAx>
        <c:axId val="118246400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182448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2.6399278215224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60.8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 г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6,1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76.09999999999999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2.7777777777778351E-3"/>
                  <c:y val="-4.5444461143197114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36.20000000000000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2 г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-6.8166691714795606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3 г</c:v>
                </c:pt>
              </c:strCache>
            </c:strRef>
          </c:tx>
          <c:spPr>
            <a:solidFill>
              <a:srgbClr val="3399FF"/>
            </a:solidFill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hape val="cylinder"/>
        <c:axId val="118168576"/>
        <c:axId val="118174464"/>
        <c:axId val="0"/>
      </c:bar3DChart>
      <c:catAx>
        <c:axId val="118168576"/>
        <c:scaling>
          <c:orientation val="minMax"/>
        </c:scaling>
        <c:delete val="1"/>
        <c:axPos val="l"/>
        <c:tickLblPos val="none"/>
        <c:crossAx val="118174464"/>
        <c:crosses val="autoZero"/>
        <c:auto val="1"/>
        <c:lblAlgn val="ctr"/>
        <c:lblOffset val="100"/>
      </c:catAx>
      <c:valAx>
        <c:axId val="118174464"/>
        <c:scaling>
          <c:orientation val="minMax"/>
        </c:scaling>
        <c:delete val="1"/>
        <c:axPos val="b"/>
        <c:numFmt formatCode="0%" sourceLinked="1"/>
        <c:tickLblPos val="none"/>
        <c:crossAx val="118168576"/>
        <c:crosses val="autoZero"/>
        <c:crossBetween val="between"/>
      </c:valAx>
    </c:plotArea>
    <c:legend>
      <c:legendPos val="r"/>
      <c:legendEntry>
        <c:idx val="3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ayout>
        <c:manualLayout>
          <c:xMode val="edge"/>
          <c:yMode val="edge"/>
          <c:x val="9.7222222222222224E-2"/>
          <c:y val="0.55487758621923555"/>
          <c:w val="0.77992235345582994"/>
          <c:h val="0.3292390378656133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01E-2"/>
          <c:w val="0.53125289941066556"/>
          <c:h val="0.86596251665585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2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9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67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7.0000000000000114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52E-2</c:v>
                </c:pt>
                <c:pt idx="9">
                  <c:v>5.7000000000000023E-2</c:v>
                </c:pt>
                <c:pt idx="10">
                  <c:v>6.2000000000000034E-2</c:v>
                </c:pt>
                <c:pt idx="11">
                  <c:v>0.22500000000000001</c:v>
                </c:pt>
                <c:pt idx="12">
                  <c:v>0.559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48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08E-2"/>
          <c:w val="0.53125289941066556"/>
          <c:h val="0.8659625166558521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2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9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68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7.0000000000000114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52E-2</c:v>
                </c:pt>
                <c:pt idx="9">
                  <c:v>5.7000000000000023E-2</c:v>
                </c:pt>
                <c:pt idx="10">
                  <c:v>6.2000000000000034E-2</c:v>
                </c:pt>
                <c:pt idx="11">
                  <c:v>0.22500000000000001</c:v>
                </c:pt>
                <c:pt idx="12">
                  <c:v>0.559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71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1535433070867608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2.4627337426753925E-3"/>
                  <c:y val="-0.18431991977059062"/>
                </c:manualLayout>
              </c:layout>
              <c:showVal val="1"/>
            </c:dLbl>
            <c:dLbl>
              <c:idx val="1"/>
              <c:layout>
                <c:manualLayout>
                  <c:x val="2.7777509839289451E-3"/>
                  <c:y val="-0.12803184979582696"/>
                </c:manualLayout>
              </c:layout>
              <c:showVal val="1"/>
            </c:dLbl>
            <c:dLbl>
              <c:idx val="2"/>
              <c:layout>
                <c:manualLayout>
                  <c:x val="-1.3888754919644741E-3"/>
                  <c:y val="-8.6995266624805501E-2"/>
                </c:manualLayout>
              </c:layout>
              <c:showVal val="1"/>
            </c:dLbl>
            <c:dLbl>
              <c:idx val="3"/>
              <c:layout>
                <c:manualLayout>
                  <c:x val="3.6415193194498379E-3"/>
                  <c:y val="-7.8704361024344804E-2"/>
                </c:manualLayout>
              </c:layout>
              <c:showVal val="1"/>
            </c:dLbl>
            <c:dLbl>
              <c:idx val="4"/>
              <c:layout>
                <c:manualLayout>
                  <c:x val="7.5872337792598965E-4"/>
                  <c:y val="-7.0364961825039346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</c:v>
                </c:pt>
                <c:pt idx="3">
                  <c:v>на 01.01.2022 г.</c:v>
                </c:pt>
                <c:pt idx="4">
                  <c:v>на 01.01.2023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160787840"/>
        <c:axId val="160789632"/>
        <c:axId val="110424064"/>
      </c:area3DChart>
      <c:catAx>
        <c:axId val="160787840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60789632"/>
        <c:crosses val="autoZero"/>
        <c:auto val="1"/>
        <c:lblAlgn val="ctr"/>
        <c:lblOffset val="100"/>
      </c:catAx>
      <c:valAx>
        <c:axId val="16078963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0787840"/>
        <c:crosses val="autoZero"/>
        <c:crossBetween val="midCat"/>
      </c:valAx>
      <c:serAx>
        <c:axId val="110424064"/>
        <c:scaling>
          <c:orientation val="minMax"/>
        </c:scaling>
        <c:delete val="1"/>
        <c:axPos val="b"/>
        <c:tickLblPos val="none"/>
        <c:crossAx val="16078963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254464464745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473291533002818E-2"/>
                  <c:y val="-2.5775516550734252E-2"/>
                </c:manualLayout>
              </c:layout>
              <c:showVal val="1"/>
            </c:dLbl>
            <c:dLbl>
              <c:idx val="3"/>
              <c:layout>
                <c:manualLayout>
                  <c:x val="5.5813067183816487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885.3</c:v>
                </c:pt>
                <c:pt idx="1">
                  <c:v>1768.4</c:v>
                </c:pt>
                <c:pt idx="2">
                  <c:v>1660.6</c:v>
                </c:pt>
                <c:pt idx="3">
                  <c:v>1284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2.9845679012345708E-2"/>
                  <c:y val="-2.7266698093149001E-2"/>
                </c:manualLayout>
              </c:layout>
              <c:showVal val="1"/>
            </c:dLbl>
            <c:dLbl>
              <c:idx val="1"/>
              <c:layout>
                <c:manualLayout>
                  <c:x val="2.8302469135802429E-2"/>
                  <c:y val="-2.9929562811222436E-2"/>
                </c:manualLayout>
              </c:layout>
              <c:showVal val="1"/>
            </c:dLbl>
            <c:dLbl>
              <c:idx val="2"/>
              <c:layout>
                <c:manualLayout>
                  <c:x val="2.8564814814814814E-2"/>
                  <c:y val="-2.4864312505343936E-2"/>
                </c:manualLayout>
              </c:layout>
              <c:showVal val="1"/>
            </c:dLbl>
            <c:dLbl>
              <c:idx val="3"/>
              <c:layout>
                <c:manualLayout>
                  <c:x val="4.5277777777777757E-2"/>
                  <c:y val="-4.4083397207784814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527.6</c:v>
                </c:pt>
                <c:pt idx="1">
                  <c:v>1421.7</c:v>
                </c:pt>
                <c:pt idx="2">
                  <c:v>1312.8</c:v>
                </c:pt>
                <c:pt idx="3">
                  <c:v>932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1013414989792981E-2"/>
                  <c:y val="-4.1290576670906465E-2"/>
                </c:manualLayout>
              </c:layout>
              <c:showVal val="1"/>
            </c:dLbl>
            <c:dLbl>
              <c:idx val="1"/>
              <c:layout>
                <c:manualLayout>
                  <c:x val="2.3837367551278382E-2"/>
                  <c:y val="-3.4083419907491141E-2"/>
                </c:manualLayout>
              </c:layout>
              <c:showVal val="1"/>
            </c:dLbl>
            <c:dLbl>
              <c:idx val="2"/>
              <c:layout>
                <c:manualLayout>
                  <c:x val="3.3786089238845143E-2"/>
                  <c:y val="-3.4083419907491141E-2"/>
                </c:manualLayout>
              </c:layout>
              <c:showVal val="1"/>
            </c:dLbl>
            <c:dLbl>
              <c:idx val="3"/>
              <c:layout>
                <c:manualLayout>
                  <c:x val="3.8677943034898542E-2"/>
                  <c:y val="-3.0059518630027357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357.7</c:v>
                </c:pt>
                <c:pt idx="1">
                  <c:v>346.7</c:v>
                </c:pt>
                <c:pt idx="2">
                  <c:v>347.8</c:v>
                </c:pt>
                <c:pt idx="3">
                  <c:v>352.1</c:v>
                </c:pt>
              </c:numCache>
            </c:numRef>
          </c:val>
        </c:ser>
        <c:shape val="cylinder"/>
        <c:axId val="101933440"/>
        <c:axId val="101934976"/>
        <c:axId val="0"/>
      </c:bar3DChart>
      <c:catAx>
        <c:axId val="101933440"/>
        <c:scaling>
          <c:orientation val="minMax"/>
        </c:scaling>
        <c:axPos val="b"/>
        <c:tickLblPos val="nextTo"/>
        <c:crossAx val="101934976"/>
        <c:crosses val="autoZero"/>
        <c:auto val="1"/>
        <c:lblAlgn val="ctr"/>
        <c:lblOffset val="100"/>
      </c:catAx>
      <c:valAx>
        <c:axId val="101934976"/>
        <c:scaling>
          <c:orientation val="minMax"/>
        </c:scaling>
        <c:delete val="1"/>
        <c:axPos val="l"/>
        <c:numFmt formatCode="0.0" sourceLinked="1"/>
        <c:tickLblPos val="none"/>
        <c:crossAx val="101933440"/>
        <c:crosses val="autoZero"/>
        <c:crossBetween val="between"/>
      </c:valAx>
    </c:plotArea>
    <c:legend>
      <c:legendPos val="r"/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015"/>
          <c:w val="0.77846996666312263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1 год</a:t>
            </a: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0893"/>
          <c:h val="0.6576882196377704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3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245"/>
          <c:y val="0.34231178036223586"/>
          <c:w val="0.38145916738990893"/>
          <c:h val="0.6576882196377704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2592364474556212E-2"/>
          <c:y val="4.6439958814325402E-2"/>
          <c:w val="0.96740763552544395"/>
          <c:h val="0.6269417770187966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7,1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4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4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4,6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7.07</c:v>
                </c:pt>
                <c:pt idx="1">
                  <c:v>24.93</c:v>
                </c:pt>
                <c:pt idx="2">
                  <c:v>24.87</c:v>
                </c:pt>
                <c:pt idx="3">
                  <c:v>24.5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6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,7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7.56</c:v>
                </c:pt>
                <c:pt idx="1">
                  <c:v>7.7700000000000014</c:v>
                </c:pt>
                <c:pt idx="2">
                  <c:v>7.8</c:v>
                </c:pt>
                <c:pt idx="3">
                  <c:v>7.72</c:v>
                </c:pt>
              </c:numCache>
            </c:numRef>
          </c:val>
        </c:ser>
        <c:dLbls>
          <c:showVal val="1"/>
        </c:dLbls>
        <c:marker val="1"/>
        <c:axId val="102709504"/>
        <c:axId val="102727680"/>
      </c:lineChart>
      <c:catAx>
        <c:axId val="102709504"/>
        <c:scaling>
          <c:orientation val="minMax"/>
        </c:scaling>
        <c:axPos val="b"/>
        <c:numFmt formatCode="General" sourceLinked="1"/>
        <c:majorTickMark val="none"/>
        <c:tickLblPos val="nextTo"/>
        <c:crossAx val="102727680"/>
        <c:crosses val="autoZero"/>
        <c:auto val="1"/>
        <c:lblAlgn val="ctr"/>
        <c:lblOffset val="100"/>
      </c:catAx>
      <c:valAx>
        <c:axId val="10272768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027095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4775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338342959041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415E-2"/>
                </c:manualLayout>
              </c:layout>
              <c:showVal val="1"/>
            </c:dLbl>
            <c:dLbl>
              <c:idx val="3"/>
              <c:layout>
                <c:manualLayout>
                  <c:x val="5.5813067183816453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670.6</c:v>
                </c:pt>
                <c:pt idx="1">
                  <c:v>636.9</c:v>
                </c:pt>
                <c:pt idx="2">
                  <c:v>639.6</c:v>
                </c:pt>
                <c:pt idx="3">
                  <c:v>650.2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 и субсидия на финансовое обеспечение решения вопросов местного знач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4.6820987654321133E-2"/>
                  <c:y val="-5.129055397120011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409.2</c:v>
                </c:pt>
                <c:pt idx="1">
                  <c:v>301.10000000000002</c:v>
                </c:pt>
                <c:pt idx="2">
                  <c:v>245.3</c:v>
                </c:pt>
                <c:pt idx="3">
                  <c:v>238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6453E-3"/>
                  <c:y val="-3.4083345857397612E-2"/>
                </c:manualLayout>
              </c:layout>
              <c:showVal val="1"/>
            </c:dLbl>
            <c:dLbl>
              <c:idx val="1"/>
              <c:layout>
                <c:manualLayout>
                  <c:x val="2.2325226873526052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612E-2"/>
                </c:manualLayout>
              </c:layout>
              <c:showVal val="1"/>
            </c:dLbl>
            <c:dLbl>
              <c:idx val="3"/>
              <c:layout>
                <c:manualLayout>
                  <c:x val="7.8138294057343381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.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0046352093086703E-2"/>
                  <c:y val="-4.0900015028876913E-2"/>
                </c:manualLayout>
              </c:layout>
              <c:showVal val="1"/>
            </c:dLbl>
            <c:dLbl>
              <c:idx val="1"/>
              <c:layout>
                <c:manualLayout>
                  <c:x val="7.8138294057343381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1.4413458734324988E-2"/>
                  <c:y val="-5.129055397120011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60.5</c:v>
                </c:pt>
                <c:pt idx="1">
                  <c:v>67.2</c:v>
                </c:pt>
                <c:pt idx="2">
                  <c:v>67.7</c:v>
                </c:pt>
                <c:pt idx="3">
                  <c:v>16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3399"/>
            </a:solidFill>
          </c:spPr>
          <c:dLbls>
            <c:dLbl>
              <c:idx val="3"/>
              <c:layout>
                <c:manualLayout>
                  <c:x val="3.7037037037037056E-2"/>
                  <c:y val="-1.2011927939025559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396.2</c:v>
                </c:pt>
                <c:pt idx="1">
                  <c:v>416.4</c:v>
                </c:pt>
                <c:pt idx="2">
                  <c:v>360.1</c:v>
                </c:pt>
                <c:pt idx="3">
                  <c:v>26.8</c:v>
                </c:pt>
              </c:numCache>
            </c:numRef>
          </c:val>
        </c:ser>
        <c:shape val="cylinder"/>
        <c:axId val="117868416"/>
        <c:axId val="117869952"/>
        <c:axId val="0"/>
      </c:bar3DChart>
      <c:catAx>
        <c:axId val="117868416"/>
        <c:scaling>
          <c:orientation val="minMax"/>
        </c:scaling>
        <c:axPos val="b"/>
        <c:tickLblPos val="nextTo"/>
        <c:crossAx val="117869952"/>
        <c:crosses val="autoZero"/>
        <c:auto val="1"/>
        <c:lblAlgn val="ctr"/>
        <c:lblOffset val="100"/>
      </c:catAx>
      <c:valAx>
        <c:axId val="117869952"/>
        <c:scaling>
          <c:orientation val="minMax"/>
        </c:scaling>
        <c:delete val="1"/>
        <c:axPos val="l"/>
        <c:numFmt formatCode="0.0" sourceLinked="1"/>
        <c:tickLblPos val="none"/>
        <c:crossAx val="11786841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8992"/>
          <c:w val="0.77846996666312218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FF"/>
              </a:solidFill>
            </c:spPr>
          </c:dPt>
          <c:dPt>
            <c:idx val="2"/>
            <c:spPr>
              <a:solidFill>
                <a:srgbClr val="B2FC9E"/>
              </a:solidFill>
            </c:spPr>
          </c:dPt>
          <c:dPt>
            <c:idx val="3"/>
            <c:spPr>
              <a:solidFill>
                <a:srgbClr val="FFFF99"/>
              </a:solidFill>
            </c:spPr>
          </c:dPt>
          <c:dPt>
            <c:idx val="4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8011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644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  <c:pt idx="3">
                  <c:v>2022 год</c:v>
                </c:pt>
                <c:pt idx="4">
                  <c:v>2023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793.7</c:v>
                </c:pt>
                <c:pt idx="1">
                  <c:v>1819.8</c:v>
                </c:pt>
                <c:pt idx="2">
                  <c:v>1768.4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02211968"/>
        <c:axId val="102213504"/>
        <c:axId val="0"/>
      </c:bar3DChart>
      <c:catAx>
        <c:axId val="10221196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/>
          </a:p>
        </c:txPr>
        <c:crossAx val="102213504"/>
        <c:crosses val="autoZero"/>
        <c:auto val="1"/>
        <c:lblAlgn val="ctr"/>
        <c:lblOffset val="100"/>
        <c:tickLblSkip val="1"/>
        <c:tickMarkSkip val="1"/>
      </c:catAx>
      <c:valAx>
        <c:axId val="102213504"/>
        <c:scaling>
          <c:orientation val="minMax"/>
        </c:scaling>
        <c:delete val="1"/>
        <c:axPos val="l"/>
        <c:numFmt formatCode="General" sourceLinked="1"/>
        <c:tickLblPos val="none"/>
        <c:crossAx val="102211968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579</cdr:x>
      <cdr:y>0.27586</cdr:y>
    </cdr:from>
    <cdr:to>
      <cdr:x>0.6</cdr:x>
      <cdr:y>0.52319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285884" y="532086"/>
          <a:ext cx="115729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5,1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762</cdr:x>
      <cdr:y>0.44828</cdr:y>
    </cdr:from>
    <cdr:to>
      <cdr:x>0.48</cdr:x>
      <cdr:y>0.68678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42877" y="896678"/>
          <a:ext cx="1297314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4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9131</cdr:x>
      <cdr:y>0.05405</cdr:y>
    </cdr:from>
    <cdr:to>
      <cdr:x>0.98062</cdr:x>
      <cdr:y>0.1981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500858" y="285753"/>
          <a:ext cx="1555246" cy="761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rPr>
            <a:t>млн.рублей</a:t>
          </a:r>
          <a:endParaRPr lang="ru-RU" sz="200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10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3A77E5-D280-4570-A409-CAD5BC180871}" type="slidenum">
              <a:rPr lang="fr-CA" smtClean="0"/>
              <a:pPr>
                <a:defRPr/>
              </a:pPr>
              <a:t>1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32F500-E0D6-420F-872B-5FFDFA63DC73}" type="slidenum">
              <a:rPr lang="fr-CA" smtClean="0"/>
              <a:pPr>
                <a:defRPr/>
              </a:pPr>
              <a:t>1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61C133-730E-46BA-B594-B63251DBCEA3}" type="slidenum">
              <a:rPr lang="fr-CA" smtClean="0"/>
              <a:pPr>
                <a:defRPr/>
              </a:pPr>
              <a:t>13</a:t>
            </a:fld>
            <a:endParaRPr lang="fr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5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205691" y="194904"/>
            <a:ext cx="8732618" cy="6468193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312547" y="294556"/>
            <a:ext cx="8451814" cy="576066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442592" y="6349999"/>
            <a:ext cx="526372" cy="365125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8993" y="308273"/>
            <a:ext cx="7607757" cy="543299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1102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04/12/2020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8" r:id="rId12"/>
    <p:sldLayoutId id="2147483729" r:id="rId13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_____Microsoft_Office_Excel_97-20032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chart" Target="../charts/chart6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_____Microsoft_Office_Excel_97-20033.xls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_____Microsoft_Office_Excel_97-20034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9.xml"/><Relationship Id="rId4" Type="http://schemas.openxmlformats.org/officeDocument/2006/relationships/image" Target="../media/image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_____Microsoft_Office_Excel_97-20035.xls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_____Microsoft_Office_Excel_97-20036.xls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_____Microsoft_Office_Excel_97-20037.xls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_____Microsoft_Office_Excel_97-20038.xls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_____Microsoft_Office_Excel_97-20039.xls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_____Microsoft_Office_Excel_97-200310.xls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_____Microsoft_Office_Excel_97-200311.xls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_____Microsoft_Office_Excel_97-200312.xls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3.xls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4.xls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_____Microsoft_Office_Excel_97-200315.xls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2.xml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34.jpe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2.jpe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34" Type="http://schemas.openxmlformats.org/officeDocument/2006/relationships/image" Target="../media/image2.jpeg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image" Target="../media/image37.png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image" Target="../media/image36.pn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3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1.gif"/><Relationship Id="rId4" Type="http://schemas.openxmlformats.org/officeDocument/2006/relationships/image" Target="../media/image40.gi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gi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slideLayout" Target="../slideLayouts/slideLayout13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image" Target="../media/image2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chart" Target="../charts/chart17.xml"/><Relationship Id="rId5" Type="http://schemas.openxmlformats.org/officeDocument/2006/relationships/image" Target="../media/image43.png"/><Relationship Id="rId4" Type="http://schemas.openxmlformats.org/officeDocument/2006/relationships/image" Target="../media/image2.jpe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pic>
        <p:nvPicPr>
          <p:cNvPr id="27651" name="Picture 7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3" y="214313"/>
            <a:ext cx="1142977" cy="146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3000375" y="2786063"/>
            <a:ext cx="6477000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8681" name="Rectangle 4"/>
          <p:cNvSpPr>
            <a:spLocks noChangeArrowheads="1"/>
          </p:cNvSpPr>
          <p:nvPr/>
        </p:nvSpPr>
        <p:spPr bwMode="auto">
          <a:xfrm>
            <a:off x="1928794" y="357166"/>
            <a:ext cx="62484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ФИНАНСОВОЕ УПРАВЛЕНИЕ АДМИНИСТРАЦИИ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ОРОДА-КУРОРТА ЖЕЛЕЗНОВОДСКА СТАВРОПОЛЬСКОГО КРАЯ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214414" y="1714488"/>
            <a:ext cx="7358114" cy="285752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8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ОТКРЫТЫЙ БЮДЖЕТ ДЛЯ ГРАЖДАН </a:t>
            </a:r>
            <a:endParaRPr lang="ru-RU" sz="2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о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роекту решения</a:t>
            </a:r>
            <a:b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«О бюджете города-курорта Железноводска Ставропольского края на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1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 и плановый период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2-2023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ов»</a:t>
            </a:r>
          </a:p>
          <a:p>
            <a:pPr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31426" name="Picture 2" descr="https://stv24.tv/wp-content/uploads/2020/06/14/font-zhe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00504"/>
            <a:ext cx="4286248" cy="28574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Object 92"/>
          <p:cNvGraphicFramePr>
            <a:graphicFrameLocks noGrp="1" noChangeAspect="1"/>
          </p:cNvGraphicFramePr>
          <p:nvPr>
            <p:ph idx="1"/>
          </p:nvPr>
        </p:nvGraphicFramePr>
        <p:xfrm>
          <a:off x="285720" y="1643050"/>
          <a:ext cx="8501122" cy="501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7358082" y="1571612"/>
            <a:ext cx="157163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20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235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85750" y="2143125"/>
          <a:ext cx="8686800" cy="3652206"/>
        </p:xfrm>
        <a:graphic>
          <a:graphicData uri="http://schemas.openxmlformats.org/drawingml/2006/table">
            <a:tbl>
              <a:tblPr/>
              <a:tblGrid>
                <a:gridCol w="1285854"/>
                <a:gridCol w="642942"/>
                <a:gridCol w="755667"/>
                <a:gridCol w="790575"/>
                <a:gridCol w="711200"/>
                <a:gridCol w="552450"/>
                <a:gridCol w="709612"/>
                <a:gridCol w="711200"/>
                <a:gridCol w="552450"/>
                <a:gridCol w="790575"/>
                <a:gridCol w="712815"/>
                <a:gridCol w="471460"/>
              </a:tblGrid>
              <a:tr h="3222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79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88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76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11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10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37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8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45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5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4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10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3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10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38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79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81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76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5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10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37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(+),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6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005" name="Text Box 1"/>
          <p:cNvSpPr txBox="1">
            <a:spLocks noChangeArrowheads="1"/>
          </p:cNvSpPr>
          <p:nvPr/>
        </p:nvSpPr>
        <p:spPr bwMode="auto">
          <a:xfrm>
            <a:off x="7572375" y="1619250"/>
            <a:ext cx="12858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8916" name="Text Box 1"/>
          <p:cNvSpPr txBox="1">
            <a:spLocks noChangeArrowheads="1"/>
          </p:cNvSpPr>
          <p:nvPr/>
        </p:nvSpPr>
        <p:spPr bwMode="auto">
          <a:xfrm>
            <a:off x="7643834" y="1285861"/>
            <a:ext cx="1357291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643050"/>
          <a:ext cx="8572528" cy="5036917"/>
        </p:xfrm>
        <a:graphic>
          <a:graphicData uri="http://schemas.openxmlformats.org/drawingml/2006/table">
            <a:tbl>
              <a:tblPr/>
              <a:tblGrid>
                <a:gridCol w="3471532"/>
                <a:gridCol w="1062714"/>
                <a:gridCol w="1062684"/>
                <a:gridCol w="991866"/>
                <a:gridCol w="991866"/>
                <a:gridCol w="991866"/>
              </a:tblGrid>
              <a:tr h="6006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2019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2020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2021 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2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3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8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60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2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14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7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7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1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1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4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12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9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1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7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13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6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1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9940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2000240"/>
          <a:ext cx="8643997" cy="4525085"/>
        </p:xfrm>
        <a:graphic>
          <a:graphicData uri="http://schemas.openxmlformats.org/drawingml/2006/table">
            <a:tbl>
              <a:tblPr/>
              <a:tblGrid>
                <a:gridCol w="3214679"/>
                <a:gridCol w="1143008"/>
                <a:gridCol w="1000132"/>
                <a:gridCol w="1065702"/>
                <a:gridCol w="1110238"/>
                <a:gridCol w="1110238"/>
              </a:tblGrid>
              <a:tr h="6034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2019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2020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2021 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2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3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49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5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4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57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45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5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42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3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9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92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0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0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4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8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9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1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6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3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3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5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15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5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6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10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79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88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76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поступлений доходов бюджета 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налоговых и неналоговых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graphicFrame>
        <p:nvGraphicFramePr>
          <p:cNvPr id="211970" name="Object 3"/>
          <p:cNvGraphicFramePr>
            <a:graphicFrameLocks noChangeAspect="1"/>
          </p:cNvGraphicFramePr>
          <p:nvPr/>
        </p:nvGraphicFramePr>
        <p:xfrm>
          <a:off x="0" y="1577975"/>
          <a:ext cx="9201150" cy="4365625"/>
        </p:xfrm>
        <a:graphic>
          <a:graphicData uri="http://schemas.openxmlformats.org/presentationml/2006/ole">
            <p:oleObj spid="_x0000_s266242" name="Worksheet" r:id="rId5" imgW="7305660" imgH="34670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7358082" y="1643050"/>
            <a:ext cx="152876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500034" y="714356"/>
            <a:ext cx="8429684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75" name="Object 4"/>
          <p:cNvGraphicFramePr>
            <a:graphicFrameLocks noGrp="1" noChangeAspect="1"/>
          </p:cNvGraphicFramePr>
          <p:nvPr/>
        </p:nvGraphicFramePr>
        <p:xfrm>
          <a:off x="-252536" y="2132856"/>
          <a:ext cx="9721080" cy="4283094"/>
        </p:xfrm>
        <a:graphic>
          <a:graphicData uri="http://schemas.openxmlformats.org/presentationml/2006/ole">
            <p:oleObj spid="_x0000_s3075" name="Worksheet" r:id="rId4" imgW="6534270" imgH="23240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8" name="File"/>
          <p:cNvSpPr>
            <a:spLocks noEditPoints="1" noChangeArrowheads="1"/>
          </p:cNvSpPr>
          <p:nvPr/>
        </p:nvSpPr>
        <p:spPr bwMode="auto">
          <a:xfrm>
            <a:off x="500063" y="4786322"/>
            <a:ext cx="8643937" cy="185738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3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1 году </a:t>
            </a:r>
            <a:r>
              <a:rPr lang="ru-RU" sz="1800" b="1" dirty="0" err="1" smtClean="0">
                <a:solidFill>
                  <a:schemeClr val="tx2">
                    <a:lumMod val="75000"/>
                  </a:schemeClr>
                </a:solidFill>
              </a:rPr>
              <a:t>прогнозн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 составят 165,6 млн. руб., в 2022 году – 168,9 млн. руб., в 2023 году – 172,3 млн. руб.</a:t>
            </a:r>
          </a:p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539552" y="2564904"/>
          <a:ext cx="3502172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7158" y="3714752"/>
            <a:ext cx="10935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 smtClean="0"/>
              <a:t>54,2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475656" y="1052736"/>
          <a:ext cx="4896544" cy="2521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4500562" y="3786190"/>
          <a:ext cx="3143272" cy="1214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5076056" y="2492896"/>
          <a:ext cx="392392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1000100" y="2643182"/>
            <a:ext cx="64294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aphicFrame>
        <p:nvGraphicFramePr>
          <p:cNvPr id="18" name="Диаграмма 17"/>
          <p:cNvGraphicFramePr/>
          <p:nvPr/>
        </p:nvGraphicFramePr>
        <p:xfrm>
          <a:off x="357158" y="1214422"/>
          <a:ext cx="857256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214290"/>
            <a:ext cx="778674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67544" y="4797152"/>
            <a:ext cx="3168352" cy="180020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1 году ниже уровня ожидаемых поступлений в 2020 году         на 7,7 млн. руб.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995936" y="4869160"/>
            <a:ext cx="4752528" cy="1728192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ше уровня ожидаемых поступлений в 2020 году    на 0,32 млн.руб. 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7524750" y="112553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85852" y="142852"/>
            <a:ext cx="7215238" cy="9286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еналоговых доходов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</a:t>
            </a: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4100" name="Object 3"/>
          <p:cNvGraphicFramePr>
            <a:graphicFrameLocks noGrp="1" noChangeAspect="1"/>
          </p:cNvGraphicFramePr>
          <p:nvPr>
            <p:ph/>
          </p:nvPr>
        </p:nvGraphicFramePr>
        <p:xfrm>
          <a:off x="690562" y="1571612"/>
          <a:ext cx="8239156" cy="3292475"/>
        </p:xfrm>
        <a:graphic>
          <a:graphicData uri="http://schemas.openxmlformats.org/presentationml/2006/ole">
            <p:oleObj spid="_x0000_s4100" name="Worksheet" r:id="rId4" imgW="8705880" imgH="3390990" progId="Excel.Sheet.8">
              <p:embed/>
            </p:oleObj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251520" y="4869160"/>
            <a:ext cx="4248472" cy="16561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0 году составят 36,6 млн. руб. и 38,0 млн. руб. в 2021-2023 годах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220072" y="4869160"/>
            <a:ext cx="3456384" cy="16561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2020 году составят 11,7 млн. руб.,  в 2021 - 2023 годах  3,3 млн. руб. ежегодно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500034" y="214290"/>
            <a:ext cx="8286808" cy="321471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880"/>
              </a:lnSpc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Железноводск - город расположен на юге Ставропольской возвышенности, в предгорьях Большого Кавказа. Население города составляет более 50 тысяч человек. В административные границы Железноводска входят: поселок Иноземцево, микрорайон Бештау, жилые районы - Капельница и Розы Люксембург. </a:t>
            </a:r>
          </a:p>
          <a:p>
            <a:pPr algn="ctr">
              <a:lnSpc>
                <a:spcPts val="2880"/>
              </a:lnSpc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авминвод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</a:t>
            </a:r>
            <a:endParaRPr lang="ru-RU" b="1" i="1" kern="0" dirty="0" smtClean="0">
              <a:solidFill>
                <a:schemeClr val="bg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230402" name="AutoShape 2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4" name="AutoShape 4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6" name="AutoShape 6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8" name="AutoShape 8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10" name="AutoShape 10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0412" name="Picture 12" descr="https://avatars.mds.yandex.net/get-pdb/777813/77b6101a-d127-4732-8888-2d65f4f50475/s1200?webp=fals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57290" y="3643314"/>
            <a:ext cx="6929486" cy="321468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Object 3"/>
          <p:cNvGraphicFramePr>
            <a:graphicFrameLocks noGrp="1" noChangeAspect="1"/>
          </p:cNvGraphicFramePr>
          <p:nvPr/>
        </p:nvGraphicFramePr>
        <p:xfrm>
          <a:off x="639763" y="1211263"/>
          <a:ext cx="8286750" cy="4138612"/>
        </p:xfrm>
        <a:graphic>
          <a:graphicData uri="http://schemas.openxmlformats.org/presentationml/2006/ole">
            <p:oleObj spid="_x0000_s83970" name="Worksheet" r:id="rId4" imgW="8629740" imgH="4305390" progId="Excel.Sheet.8">
              <p:embed/>
            </p:oleObj>
          </a:graphicData>
        </a:graphic>
      </p:graphicFrame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572396" y="128586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14290"/>
            <a:ext cx="7215238" cy="10715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5661248"/>
            <a:ext cx="8712968" cy="1008112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ожидаемые в 2020 году составят 36,6 млн. руб. и 38,0 млн. руб. в 2021-2023 годах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безвозмездных поступлений в бюджет 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4" name="AutoShape 2"/>
          <p:cNvSpPr>
            <a:spLocks noChangeArrowheads="1"/>
          </p:cNvSpPr>
          <p:nvPr/>
        </p:nvSpPr>
        <p:spPr bwMode="auto">
          <a:xfrm>
            <a:off x="1142976" y="214290"/>
            <a:ext cx="70770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расходов бюджета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7" name="Object 92"/>
          <p:cNvGraphicFramePr>
            <a:graphicFrameLocks noChangeAspect="1"/>
          </p:cNvGraphicFramePr>
          <p:nvPr/>
        </p:nvGraphicFramePr>
        <p:xfrm>
          <a:off x="214282" y="1357298"/>
          <a:ext cx="8215339" cy="528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5" name="Группа 9"/>
          <p:cNvGrpSpPr/>
          <p:nvPr/>
        </p:nvGrpSpPr>
        <p:grpSpPr>
          <a:xfrm rot="952971">
            <a:off x="1802671" y="3380903"/>
            <a:ext cx="2395384" cy="978662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6" name="Стрелка вверх 5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25"/>
          <p:cNvGrpSpPr/>
          <p:nvPr/>
        </p:nvGrpSpPr>
        <p:grpSpPr>
          <a:xfrm rot="409763">
            <a:off x="4194082" y="3905993"/>
            <a:ext cx="2028546" cy="227577"/>
            <a:chOff x="1389359" y="3286222"/>
            <a:chExt cx="1435312" cy="285556"/>
          </a:xfrm>
          <a:solidFill>
            <a:srgbClr val="FF6600"/>
          </a:solidFill>
        </p:grpSpPr>
        <p:sp>
          <p:nvSpPr>
            <p:cNvPr id="9" name="Стрелка вверх 8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6600"/>
                  </a:gs>
                  <a:gs pos="2000">
                    <a:srgbClr val="FFC000">
                      <a:alpha val="28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8320" name="File"/>
          <p:cNvSpPr>
            <a:spLocks noEditPoints="1" noChangeArrowheads="1"/>
          </p:cNvSpPr>
          <p:nvPr/>
        </p:nvSpPr>
        <p:spPr bwMode="auto">
          <a:xfrm>
            <a:off x="4857752" y="1357298"/>
            <a:ext cx="3786214" cy="42862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" name="File"/>
          <p:cNvSpPr>
            <a:spLocks noEditPoints="1" noChangeArrowheads="1"/>
          </p:cNvSpPr>
          <p:nvPr/>
        </p:nvSpPr>
        <p:spPr bwMode="auto">
          <a:xfrm>
            <a:off x="4857752" y="270986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" name="File"/>
          <p:cNvSpPr>
            <a:spLocks noEditPoints="1" noChangeArrowheads="1"/>
          </p:cNvSpPr>
          <p:nvPr/>
        </p:nvSpPr>
        <p:spPr bwMode="auto">
          <a:xfrm>
            <a:off x="4857751" y="5145110"/>
            <a:ext cx="3857653" cy="71278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4" name="File"/>
          <p:cNvSpPr>
            <a:spLocks noEditPoints="1" noChangeArrowheads="1"/>
          </p:cNvSpPr>
          <p:nvPr/>
        </p:nvSpPr>
        <p:spPr bwMode="auto">
          <a:xfrm>
            <a:off x="4857752" y="192880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5" name="File"/>
          <p:cNvSpPr>
            <a:spLocks noEditPoints="1" noChangeArrowheads="1"/>
          </p:cNvSpPr>
          <p:nvPr/>
        </p:nvSpPr>
        <p:spPr bwMode="auto">
          <a:xfrm>
            <a:off x="4857752" y="4352948"/>
            <a:ext cx="3857652" cy="64768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6" name="File"/>
          <p:cNvSpPr>
            <a:spLocks noEditPoints="1" noChangeArrowheads="1"/>
          </p:cNvSpPr>
          <p:nvPr/>
        </p:nvSpPr>
        <p:spPr bwMode="auto">
          <a:xfrm>
            <a:off x="4857752" y="5996010"/>
            <a:ext cx="3929090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4857753" y="1500174"/>
            <a:ext cx="3786214" cy="26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Образование (904,2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latin typeface="Arial" charset="0"/>
              </a:rPr>
              <a:t>5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4857752" y="2928934"/>
            <a:ext cx="3857652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  <a:defRPr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Социальная политика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79,4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latin typeface="Arial" charset="0"/>
              </a:rPr>
              <a:t>2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4857752" y="2071678"/>
            <a:ext cx="392904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Жилищно-коммунальное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хозяйство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90,0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–</a:t>
            </a:r>
            <a:r>
              <a:rPr lang="ru-RU" sz="1400" b="1" i="1" dirty="0" smtClean="0">
                <a:latin typeface="Arial" charset="0"/>
              </a:rPr>
              <a:t>1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4929190" y="4500571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Национальная экономика 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60,5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 </a:t>
            </a:r>
            <a:r>
              <a:rPr lang="ru-RU" sz="1400" b="1" i="1" dirty="0" smtClean="0">
                <a:latin typeface="Arial" charset="0"/>
              </a:rPr>
              <a:t>– 3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4929190" y="5357826"/>
            <a:ext cx="3714776" cy="4801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Общегосударственные вопросы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46,5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8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4929190" y="6143644"/>
            <a:ext cx="3857611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кинематография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49,9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3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3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Основные направления финансирования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 2021 году</a:t>
            </a:r>
            <a:endParaRPr lang="ru-RU" b="1" spc="5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25" name="Диаграмма 24"/>
          <p:cNvGraphicFramePr/>
          <p:nvPr/>
        </p:nvGraphicFramePr>
        <p:xfrm>
          <a:off x="214282" y="1643050"/>
          <a:ext cx="4500594" cy="464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Text Box 1"/>
          <p:cNvSpPr txBox="1">
            <a:spLocks noChangeArrowheads="1"/>
          </p:cNvSpPr>
          <p:nvPr/>
        </p:nvSpPr>
        <p:spPr bwMode="auto">
          <a:xfrm>
            <a:off x="3000364" y="1285860"/>
            <a:ext cx="155524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800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млн.рублей</a:t>
            </a:r>
            <a:endParaRPr lang="ru-RU" sz="180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0" name="File"/>
          <p:cNvSpPr>
            <a:spLocks noEditPoints="1" noChangeArrowheads="1"/>
          </p:cNvSpPr>
          <p:nvPr/>
        </p:nvSpPr>
        <p:spPr bwMode="auto">
          <a:xfrm>
            <a:off x="4857752" y="3500438"/>
            <a:ext cx="3857652" cy="71438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4929190" y="3714752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Физическая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спорт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7,6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1%</a:t>
            </a:r>
            <a:endParaRPr lang="ru-RU" sz="1400" b="1" i="1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6086" name="Text Box 3"/>
          <p:cNvSpPr txBox="1">
            <a:spLocks noChangeArrowheads="1"/>
          </p:cNvSpPr>
          <p:nvPr/>
        </p:nvSpPr>
        <p:spPr bwMode="auto">
          <a:xfrm>
            <a:off x="7900987" y="200024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6087" name="Text Box 4"/>
          <p:cNvSpPr txBox="1">
            <a:spLocks noChangeArrowheads="1"/>
          </p:cNvSpPr>
          <p:nvPr/>
        </p:nvSpPr>
        <p:spPr bwMode="auto">
          <a:xfrm>
            <a:off x="1692275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1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8" name="Text Box 5"/>
          <p:cNvSpPr txBox="1">
            <a:spLocks noChangeArrowheads="1"/>
          </p:cNvSpPr>
          <p:nvPr/>
        </p:nvSpPr>
        <p:spPr bwMode="auto">
          <a:xfrm>
            <a:off x="4284663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9" name="Text Box 6"/>
          <p:cNvSpPr txBox="1">
            <a:spLocks noChangeArrowheads="1"/>
          </p:cNvSpPr>
          <p:nvPr/>
        </p:nvSpPr>
        <p:spPr bwMode="auto">
          <a:xfrm>
            <a:off x="6877050" y="1702346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90" name="AutoShape 7"/>
          <p:cNvSpPr>
            <a:spLocks noChangeArrowheads="1"/>
          </p:cNvSpPr>
          <p:nvPr/>
        </p:nvSpPr>
        <p:spPr bwMode="auto">
          <a:xfrm>
            <a:off x="1403350" y="2133600"/>
            <a:ext cx="1511300" cy="2303463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630,6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1" name="AutoShape 8"/>
          <p:cNvSpPr>
            <a:spLocks noChangeArrowheads="1"/>
          </p:cNvSpPr>
          <p:nvPr/>
        </p:nvSpPr>
        <p:spPr bwMode="auto">
          <a:xfrm>
            <a:off x="4000496" y="2285992"/>
            <a:ext cx="1439862" cy="200026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520,8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6092" name="AutoShape 9"/>
          <p:cNvSpPr>
            <a:spLocks noChangeArrowheads="1"/>
          </p:cNvSpPr>
          <p:nvPr/>
        </p:nvSpPr>
        <p:spPr bwMode="auto">
          <a:xfrm>
            <a:off x="6516688" y="2357430"/>
            <a:ext cx="1439862" cy="193517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133,5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3" name="AutoShape 10"/>
          <p:cNvSpPr>
            <a:spLocks noChangeArrowheads="1"/>
          </p:cNvSpPr>
          <p:nvPr/>
        </p:nvSpPr>
        <p:spPr bwMode="auto">
          <a:xfrm>
            <a:off x="1403350" y="4572008"/>
            <a:ext cx="1439863" cy="857256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7,8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4" name="AutoShape 11"/>
          <p:cNvSpPr>
            <a:spLocks noChangeArrowheads="1"/>
          </p:cNvSpPr>
          <p:nvPr/>
        </p:nvSpPr>
        <p:spPr bwMode="auto">
          <a:xfrm>
            <a:off x="3995738" y="4508500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25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5" name="AutoShape 12"/>
          <p:cNvSpPr>
            <a:spLocks noChangeArrowheads="1"/>
          </p:cNvSpPr>
          <p:nvPr/>
        </p:nvSpPr>
        <p:spPr bwMode="auto">
          <a:xfrm>
            <a:off x="6516688" y="4437063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21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6" name="AutoShape 15"/>
          <p:cNvSpPr>
            <a:spLocks/>
          </p:cNvSpPr>
          <p:nvPr/>
        </p:nvSpPr>
        <p:spPr bwMode="auto">
          <a:xfrm>
            <a:off x="1042988" y="2133600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097" name="Text Box 16"/>
          <p:cNvSpPr txBox="1">
            <a:spLocks noChangeArrowheads="1"/>
          </p:cNvSpPr>
          <p:nvPr/>
        </p:nvSpPr>
        <p:spPr bwMode="auto">
          <a:xfrm>
            <a:off x="569213" y="2928933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3,1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8" name="Text Box 17"/>
          <p:cNvSpPr txBox="1">
            <a:spLocks noChangeArrowheads="1"/>
          </p:cNvSpPr>
          <p:nvPr/>
        </p:nvSpPr>
        <p:spPr bwMode="auto">
          <a:xfrm>
            <a:off x="569213" y="4708539"/>
            <a:ext cx="430887" cy="577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9" name="Text Box 18"/>
          <p:cNvSpPr txBox="1">
            <a:spLocks noChangeArrowheads="1"/>
          </p:cNvSpPr>
          <p:nvPr/>
        </p:nvSpPr>
        <p:spPr bwMode="auto">
          <a:xfrm>
            <a:off x="3286116" y="3000372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0" name="Text Box 19"/>
          <p:cNvSpPr txBox="1">
            <a:spLocks noChangeArrowheads="1"/>
          </p:cNvSpPr>
          <p:nvPr/>
        </p:nvSpPr>
        <p:spPr bwMode="auto">
          <a:xfrm>
            <a:off x="3286116" y="4508501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1" name="Text Box 21"/>
          <p:cNvSpPr txBox="1">
            <a:spLocks noChangeArrowheads="1"/>
          </p:cNvSpPr>
          <p:nvPr/>
        </p:nvSpPr>
        <p:spPr bwMode="auto">
          <a:xfrm>
            <a:off x="5786446" y="292893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5715008" y="4357694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>
                <a:latin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</a:rPr>
              <a:t>8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3" name="AutoShape 24"/>
          <p:cNvSpPr>
            <a:spLocks/>
          </p:cNvSpPr>
          <p:nvPr/>
        </p:nvSpPr>
        <p:spPr bwMode="auto">
          <a:xfrm>
            <a:off x="1116013" y="4508500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4" name="AutoShape 25"/>
          <p:cNvSpPr>
            <a:spLocks/>
          </p:cNvSpPr>
          <p:nvPr/>
        </p:nvSpPr>
        <p:spPr bwMode="auto">
          <a:xfrm>
            <a:off x="6286513" y="2420938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5" name="AutoShape 26"/>
          <p:cNvSpPr>
            <a:spLocks/>
          </p:cNvSpPr>
          <p:nvPr/>
        </p:nvSpPr>
        <p:spPr bwMode="auto">
          <a:xfrm>
            <a:off x="3779838" y="4437063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6" name="AutoShape 28"/>
          <p:cNvSpPr>
            <a:spLocks noChangeArrowheads="1"/>
          </p:cNvSpPr>
          <p:nvPr/>
        </p:nvSpPr>
        <p:spPr bwMode="auto">
          <a:xfrm>
            <a:off x="214313" y="5786438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7" name="Содержимое 5"/>
          <p:cNvSpPr>
            <a:spLocks/>
          </p:cNvSpPr>
          <p:nvPr/>
        </p:nvSpPr>
        <p:spPr bwMode="auto">
          <a:xfrm>
            <a:off x="928662" y="5857875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46108" name="AutoShape 30"/>
          <p:cNvSpPr>
            <a:spLocks noChangeArrowheads="1"/>
          </p:cNvSpPr>
          <p:nvPr/>
        </p:nvSpPr>
        <p:spPr bwMode="auto">
          <a:xfrm>
            <a:off x="4572000" y="578643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9" name="AutoShape 31"/>
          <p:cNvSpPr>
            <a:spLocks/>
          </p:cNvSpPr>
          <p:nvPr/>
        </p:nvSpPr>
        <p:spPr bwMode="auto">
          <a:xfrm>
            <a:off x="3784596" y="2270131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0" name="AutoShape 32"/>
          <p:cNvSpPr>
            <a:spLocks/>
          </p:cNvSpPr>
          <p:nvPr/>
        </p:nvSpPr>
        <p:spPr bwMode="auto">
          <a:xfrm>
            <a:off x="6227763" y="4365625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1" name="Содержимое 5"/>
          <p:cNvSpPr>
            <a:spLocks/>
          </p:cNvSpPr>
          <p:nvPr/>
        </p:nvSpPr>
        <p:spPr bwMode="auto">
          <a:xfrm>
            <a:off x="5286375" y="5805489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000496" y="5357826"/>
            <a:ext cx="1439863" cy="285752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4,8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328611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3" name="AutoShape 10"/>
          <p:cNvSpPr>
            <a:spLocks noChangeArrowheads="1"/>
          </p:cNvSpPr>
          <p:nvPr/>
        </p:nvSpPr>
        <p:spPr bwMode="auto">
          <a:xfrm>
            <a:off x="6500826" y="5286388"/>
            <a:ext cx="1439863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29,5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4" name="AutoShape 26"/>
          <p:cNvSpPr>
            <a:spLocks/>
          </p:cNvSpPr>
          <p:nvPr/>
        </p:nvSpPr>
        <p:spPr bwMode="auto">
          <a:xfrm>
            <a:off x="378618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5" name="AutoShape 26"/>
          <p:cNvSpPr>
            <a:spLocks/>
          </p:cNvSpPr>
          <p:nvPr/>
        </p:nvSpPr>
        <p:spPr bwMode="auto">
          <a:xfrm>
            <a:off x="628651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78644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>
            <a:off x="214313" y="6357964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38" name="Содержимое 5"/>
          <p:cNvSpPr>
            <a:spLocks/>
          </p:cNvSpPr>
          <p:nvPr/>
        </p:nvSpPr>
        <p:spPr bwMode="auto">
          <a:xfrm>
            <a:off x="928662" y="6357964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214414" y="142852"/>
            <a:ext cx="7648570" cy="128588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в разрезе муниципальных программ и непрограммных  направлений деятельности на 2021 год и плановый период 2022 и 2023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/>
        </p:nvGraphicFramePr>
        <p:xfrm>
          <a:off x="0" y="1214438"/>
          <a:ext cx="9324975" cy="4652962"/>
        </p:xfrm>
        <a:graphic>
          <a:graphicData uri="http://schemas.openxmlformats.org/presentationml/2006/ole">
            <p:oleObj spid="_x0000_s333826" name="Worksheet" r:id="rId4" imgW="8848745" imgH="4314870" progId="Excel.Sheet.8">
              <p:embed/>
            </p:oleObj>
          </a:graphicData>
        </a:graphic>
      </p:graphicFrame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1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149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0" y="1214422"/>
          <a:ext cx="8932862" cy="5432425"/>
        </p:xfrm>
        <a:graphic>
          <a:graphicData uri="http://schemas.openxmlformats.org/presentationml/2006/ole">
            <p:oleObj spid="_x0000_s6146" name="Worksheet" r:id="rId4" imgW="7220070" imgH="4391115" progId="Excel.Sheet.8">
              <p:embed/>
            </p:oleObj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2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3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73059" name="Object 5"/>
          <p:cNvGraphicFramePr>
            <a:graphicFrameLocks noChangeAspect="1"/>
          </p:cNvGraphicFramePr>
          <p:nvPr/>
        </p:nvGraphicFramePr>
        <p:xfrm>
          <a:off x="0" y="1285875"/>
          <a:ext cx="9056688" cy="4941888"/>
        </p:xfrm>
        <a:graphic>
          <a:graphicData uri="http://schemas.openxmlformats.org/presentationml/2006/ole">
            <p:oleObj spid="_x0000_s173059" name="Worksheet" r:id="rId4" imgW="7210388" imgH="39339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7107" name="Rectangle 2"/>
          <p:cNvSpPr>
            <a:spLocks noChangeArrowheads="1"/>
          </p:cNvSpPr>
          <p:nvPr/>
        </p:nvSpPr>
        <p:spPr bwMode="auto">
          <a:xfrm>
            <a:off x="285750" y="1071563"/>
            <a:ext cx="8572530" cy="157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осуществляют свою деятельность </a:t>
            </a:r>
            <a:r>
              <a:rPr lang="ru-RU" sz="1400" dirty="0" smtClean="0"/>
              <a:t>29 </a:t>
            </a:r>
            <a:r>
              <a:rPr lang="ru-RU" sz="1400" dirty="0"/>
              <a:t>муниципальных образовательных учреждений, в том числе: </a:t>
            </a:r>
            <a:r>
              <a:rPr lang="ru-RU" sz="1400" dirty="0" smtClean="0"/>
              <a:t>15 </a:t>
            </a:r>
            <a:r>
              <a:rPr lang="ru-RU" sz="1400" dirty="0"/>
              <a:t>дошкольных образовательных учреждений, 5 учреждений дополнительного образования детей, 9 общеобразовательных учреждений.</a:t>
            </a:r>
          </a:p>
        </p:txBody>
      </p:sp>
      <p:sp>
        <p:nvSpPr>
          <p:cNvPr id="47108" name="Rectangle 2"/>
          <p:cNvSpPr>
            <a:spLocks noChangeArrowheads="1"/>
          </p:cNvSpPr>
          <p:nvPr/>
        </p:nvSpPr>
        <p:spPr bwMode="auto">
          <a:xfrm>
            <a:off x="0" y="285750"/>
            <a:ext cx="9144000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>
              <a:solidFill>
                <a:srgbClr val="7030A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28596" y="3500438"/>
          <a:ext cx="8143875" cy="328260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42942"/>
                <a:gridCol w="2214558"/>
                <a:gridCol w="1143000"/>
                <a:gridCol w="1152525"/>
                <a:gridCol w="990600"/>
                <a:gridCol w="1000125"/>
                <a:gridCol w="1000125"/>
              </a:tblGrid>
              <a:tr h="5000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9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аз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80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43,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4,1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0,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4,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школьно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91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19,9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2,3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0,61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1,2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0,3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1,7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88,1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585,7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54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полнительное образование дет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2,5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0,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,0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7,17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2,4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олодежная поли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,7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0,85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,30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4,2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4,23</a:t>
                      </a:r>
                    </a:p>
                  </a:txBody>
                  <a:tcPr marL="68580" marR="68580" marT="0" marB="0" horzOverflow="overflow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ругие вопросы в области образова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,4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,41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3 ,3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2,85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2,6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</a:tbl>
          </a:graphicData>
        </a:graphic>
      </p:graphicFrame>
      <p:sp>
        <p:nvSpPr>
          <p:cNvPr id="47174" name="Rectangle 1"/>
          <p:cNvSpPr>
            <a:spLocks noChangeArrowheads="1"/>
          </p:cNvSpPr>
          <p:nvPr/>
        </p:nvSpPr>
        <p:spPr bwMode="auto">
          <a:xfrm>
            <a:off x="1500166" y="271462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71604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9154" name="AutoShape 2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8" name="AutoShape 6" descr="ÐÐ»Ð»ÑÑÑÑÐ°ÑÐ¸Ñ Ð´ÐµÑÐµÐ¹, ÑÐ¸Ð´Ñ Ð½Ð° ÑÐºÐ°Ð¼ÐµÐ¹ÐºÐµ Ð²Ð¾ Ð²ÑÐµÐ¼Ñ ÑÑÐµÐ½Ð¸Ñ Ð¤Ð¾ÑÐ¾ ÑÐ¾ ÑÑÐ¾ÐºÐ° - 1910985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60" name="AutoShape 8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8194" name="Object 12"/>
          <p:cNvGraphicFramePr>
            <a:graphicFrameLocks noGrp="1" noChangeAspect="1"/>
          </p:cNvGraphicFramePr>
          <p:nvPr/>
        </p:nvGraphicFramePr>
        <p:xfrm>
          <a:off x="712788" y="3287713"/>
          <a:ext cx="6637337" cy="3421062"/>
        </p:xfrm>
        <a:graphic>
          <a:graphicData uri="http://schemas.openxmlformats.org/presentationml/2006/ole">
            <p:oleObj spid="_x0000_s8194" name="Worksheet" r:id="rId4" imgW="8562944" imgH="4410180" progId="Excel.Sheet.8">
              <p:embed/>
            </p:oleObj>
          </a:graphicData>
        </a:graphic>
      </p:graphicFrame>
      <p:sp>
        <p:nvSpPr>
          <p:cNvPr id="8196" name="Text Box 7"/>
          <p:cNvSpPr txBox="1">
            <a:spLocks noChangeArrowheads="1"/>
          </p:cNvSpPr>
          <p:nvPr/>
        </p:nvSpPr>
        <p:spPr bwMode="auto">
          <a:xfrm>
            <a:off x="6500826" y="3255963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8197" name="Rectangle 2"/>
          <p:cNvSpPr>
            <a:spLocks noChangeArrowheads="1"/>
          </p:cNvSpPr>
          <p:nvPr/>
        </p:nvSpPr>
        <p:spPr bwMode="auto">
          <a:xfrm>
            <a:off x="357158" y="857232"/>
            <a:ext cx="8501122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r>
              <a:rPr lang="ru-RU" sz="1600" dirty="0" smtClean="0"/>
              <a:t>Увеличение расходов по отрасли </a:t>
            </a:r>
            <a:r>
              <a:rPr lang="ru-RU" sz="1600" dirty="0"/>
              <a:t>в </a:t>
            </a:r>
            <a:r>
              <a:rPr lang="ru-RU" sz="1600" dirty="0" smtClean="0"/>
              <a:t>2020 и в 2021 годах </a:t>
            </a:r>
            <a:r>
              <a:rPr lang="ru-RU" sz="1600" dirty="0"/>
              <a:t>связано с </a:t>
            </a:r>
            <a:r>
              <a:rPr lang="ru-RU" sz="1600" dirty="0" smtClean="0"/>
              <a:t> капитальными вложениями в с</a:t>
            </a:r>
            <a:r>
              <a:rPr lang="ru-RU" sz="1600" dirty="0" smtClean="0">
                <a:latin typeface="Times New Roman"/>
              </a:rPr>
              <a:t>троительство детского сада-ясли на 150 мест в жилом районе Капельница по ул.Виноградной, 3 города Железноводска, а также </a:t>
            </a:r>
            <a:r>
              <a:rPr lang="ru-RU" sz="1600" dirty="0" smtClean="0"/>
              <a:t>выделение дополнительных средств: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; на строительство новой муниципальной общеобразовательной школы в жилом районе Капельница.</a:t>
            </a:r>
          </a:p>
          <a:p>
            <a:pPr indent="449263" algn="just"/>
            <a:endParaRPr lang="ru-RU" sz="1600" dirty="0"/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2000232" y="142852"/>
            <a:ext cx="6357982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AutoShape 4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1" name="Picture 19" descr="http://www.shatsk-sch1-bibl.volyn.sch.in.ua/files2/images/anmashki/%D0%B7%20%D0%B3%D1%80%D0%B0%D1%84%D1%96%D0%BA%D0%BE%D0%BC.gif?size=11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3717032"/>
            <a:ext cx="2667000" cy="17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25" y="857232"/>
            <a:ext cx="7715250" cy="5334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28596" y="5286388"/>
            <a:ext cx="3000375" cy="100010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Дефицит бюджета </a:t>
            </a:r>
            <a:r>
              <a:rPr lang="ru-RU" sz="1600" b="1" dirty="0">
                <a:solidFill>
                  <a:schemeClr val="tx1"/>
                </a:solidFill>
              </a:rPr>
              <a:t>– превышение расходов бюджета над его до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786438" y="5214950"/>
            <a:ext cx="3000375" cy="1071570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Профицит бюджета</a:t>
            </a:r>
            <a:r>
              <a:rPr lang="ru-RU" sz="1600" b="1" dirty="0">
                <a:solidFill>
                  <a:schemeClr val="tx1"/>
                </a:solidFill>
              </a:rPr>
              <a:t> – превышение доходов бюджета над его рас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10" name="Прямоугольник 27"/>
          <p:cNvSpPr>
            <a:spLocks noChangeArrowheads="1"/>
          </p:cNvSpPr>
          <p:nvPr/>
        </p:nvSpPr>
        <p:spPr bwMode="auto">
          <a:xfrm>
            <a:off x="4714876" y="4786322"/>
            <a:ext cx="7143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endParaRPr lang="ru-RU" sz="7200" b="1" dirty="0"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39" y="1714500"/>
            <a:ext cx="2000235" cy="1643062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43125" y="3786191"/>
            <a:ext cx="4929188" cy="4286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 исполнения бюджета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43702" y="1714500"/>
            <a:ext cx="2143140" cy="1571624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2714612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715008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 rot="20959600">
            <a:off x="3974385" y="2789776"/>
            <a:ext cx="1643074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бюджет</a:t>
            </a:r>
            <a:endParaRPr lang="ru-RU" b="1" dirty="0"/>
          </a:p>
        </p:txBody>
      </p:sp>
      <p:pic>
        <p:nvPicPr>
          <p:cNvPr id="229382" name="Picture 6" descr="https://ds05.infourok.ru/uploads/ex/07b2/000f49f1-36e420dd/img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3306" y="1643050"/>
            <a:ext cx="2071702" cy="192882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220" name="Text Box 7"/>
          <p:cNvSpPr txBox="1">
            <a:spLocks noChangeArrowheads="1"/>
          </p:cNvSpPr>
          <p:nvPr/>
        </p:nvSpPr>
        <p:spPr bwMode="auto">
          <a:xfrm>
            <a:off x="6715140" y="2071678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Образование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9218" name="Object 3"/>
          <p:cNvGraphicFramePr>
            <a:graphicFrameLocks noGrp="1" noChangeAspect="1"/>
          </p:cNvGraphicFramePr>
          <p:nvPr/>
        </p:nvGraphicFramePr>
        <p:xfrm>
          <a:off x="536575" y="2576513"/>
          <a:ext cx="7948613" cy="2443162"/>
        </p:xfrm>
        <a:graphic>
          <a:graphicData uri="http://schemas.openxmlformats.org/presentationml/2006/ole">
            <p:oleObj spid="_x0000_s9218" name="Worksheet" r:id="rId4" imgW="8372500" imgH="260982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611560" y="836712"/>
            <a:ext cx="8215370" cy="773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/>
              <a:t>В городе-курорте Железноводске Ставропольского края действует </a:t>
            </a:r>
            <a:r>
              <a:rPr lang="ru-RU" sz="1600" dirty="0" smtClean="0"/>
              <a:t>15 </a:t>
            </a:r>
            <a:r>
              <a:rPr lang="ru-RU" sz="1600" dirty="0"/>
              <a:t>дошкольных образовательных учреждений - детских садов, в которых обучается 2 </a:t>
            </a:r>
            <a:r>
              <a:rPr lang="ru-RU" sz="1600" dirty="0" smtClean="0"/>
              <a:t>696 </a:t>
            </a:r>
            <a:r>
              <a:rPr lang="ru-RU" sz="1600" dirty="0"/>
              <a:t>детей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395536" y="2420888"/>
          <a:ext cx="8286750" cy="388843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09750"/>
                <a:gridCol w="879475"/>
                <a:gridCol w="954113"/>
                <a:gridCol w="928694"/>
                <a:gridCol w="1214406"/>
                <a:gridCol w="1274762"/>
                <a:gridCol w="1225550"/>
              </a:tblGrid>
              <a:tr h="11902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26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RobotoLigh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/202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/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9512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образователь-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978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 117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 262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8926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45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83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104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177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3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857356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Дошко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683568" y="1700808"/>
            <a:ext cx="7560840" cy="43204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Общее и дополните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285750" y="1428750"/>
            <a:ext cx="8572500" cy="714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</a:t>
            </a:r>
            <a:r>
              <a:rPr lang="ru-RU" sz="1400" dirty="0" smtClean="0"/>
              <a:t>библиотечная централизованная </a:t>
            </a:r>
            <a:r>
              <a:rPr lang="ru-RU" sz="1400" dirty="0" err="1" smtClean="0"/>
              <a:t>сиситема</a:t>
            </a:r>
            <a:r>
              <a:rPr lang="ru-RU" sz="1400" dirty="0" smtClean="0"/>
              <a:t>, </a:t>
            </a:r>
            <a:r>
              <a:rPr lang="ru-RU" sz="1400" dirty="0"/>
              <a:t>Пушкинская галерея, Городской Дворец культуры.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00034" y="3357562"/>
          <a:ext cx="8143875" cy="286734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, кинематограф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,8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4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9,8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,4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0,2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0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,6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4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1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49157" name="Rectangle 1"/>
          <p:cNvSpPr>
            <a:spLocks noChangeArrowheads="1"/>
          </p:cNvSpPr>
          <p:nvPr/>
        </p:nvSpPr>
        <p:spPr bwMode="auto">
          <a:xfrm>
            <a:off x="1714480" y="2643182"/>
            <a:ext cx="5697538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428728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0245" name="Text Box 7"/>
          <p:cNvSpPr txBox="1">
            <a:spLocks noChangeArrowheads="1"/>
          </p:cNvSpPr>
          <p:nvPr/>
        </p:nvSpPr>
        <p:spPr bwMode="auto">
          <a:xfrm>
            <a:off x="7092280" y="3356992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graphicFrame>
        <p:nvGraphicFramePr>
          <p:cNvPr id="10242" name="Object 12"/>
          <p:cNvGraphicFramePr>
            <a:graphicFrameLocks noGrp="1" noChangeAspect="1"/>
          </p:cNvGraphicFramePr>
          <p:nvPr/>
        </p:nvGraphicFramePr>
        <p:xfrm>
          <a:off x="-180528" y="2708920"/>
          <a:ext cx="10004314" cy="4395191"/>
        </p:xfrm>
        <a:graphic>
          <a:graphicData uri="http://schemas.openxmlformats.org/presentationml/2006/ole">
            <p:oleObj spid="_x0000_s10242" name="Worksheet" r:id="rId4" imgW="5743567" imgH="2524230" progId="Excel.Sheet.8">
              <p:embed/>
            </p:oleObj>
          </a:graphicData>
        </a:graphic>
      </p:graphicFrame>
      <p:sp>
        <p:nvSpPr>
          <p:cNvPr id="10246" name="Rectangle 2"/>
          <p:cNvSpPr>
            <a:spLocks noChangeArrowheads="1"/>
          </p:cNvSpPr>
          <p:nvPr/>
        </p:nvSpPr>
        <p:spPr bwMode="auto">
          <a:xfrm>
            <a:off x="357188" y="1142984"/>
            <a:ext cx="857250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 smtClean="0"/>
              <a:t>Увеличение объема расходов в 2021 связано с ростом в 2021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</a:t>
            </a:r>
          </a:p>
          <a:p>
            <a:pPr indent="449263" algn="just"/>
            <a:r>
              <a:rPr lang="ru-RU" sz="1600" dirty="0" smtClean="0"/>
              <a:t> В 2021 году  планируется создание виртуального концертного зала в МБУК «Пушкинская галерея», которое признано победителем конкурсного отбора субъектов Российской Федерации на предоставление иных межбюджетных трансфертов из федерального бюджета бюджетам субъектов Российской Федерации на создание виртуальных залов в городах Российской Федерации в 2021-2022 годах. На данные мероприятия выделено из краевого бюджета 2,5 млн.рублей. </a:t>
            </a:r>
            <a:endParaRPr lang="ru-RU" sz="1600" dirty="0"/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7429520" y="1857364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  <p:graphicFrame>
        <p:nvGraphicFramePr>
          <p:cNvPr id="11267" name="Object 3"/>
          <p:cNvGraphicFramePr>
            <a:graphicFrameLocks noGrp="1" noChangeAspect="1"/>
          </p:cNvGraphicFramePr>
          <p:nvPr/>
        </p:nvGraphicFramePr>
        <p:xfrm>
          <a:off x="325438" y="2927350"/>
          <a:ext cx="8150225" cy="1908175"/>
        </p:xfrm>
        <a:graphic>
          <a:graphicData uri="http://schemas.openxmlformats.org/presentationml/2006/ole">
            <p:oleObj spid="_x0000_s11267" name="Worksheet" r:id="rId4" imgW="8572399" imgH="2009880" progId="Excel.Sheet.8">
              <p:embed/>
            </p:oleObj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07504" y="1857364"/>
          <a:ext cx="8856982" cy="379650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34041"/>
                <a:gridCol w="2173672"/>
                <a:gridCol w="1243086"/>
                <a:gridCol w="1253444"/>
                <a:gridCol w="1077341"/>
                <a:gridCol w="1087699"/>
                <a:gridCol w="1087699"/>
              </a:tblGrid>
              <a:tr h="63730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742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92,1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5,9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9,4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2,1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5,2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101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,4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5,2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7,8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2,5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0,8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101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4,8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3,1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4,1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6,9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7885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7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4</a:t>
                      </a: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50229" name="Rectangle 1"/>
          <p:cNvSpPr>
            <a:spLocks noChangeArrowheads="1"/>
          </p:cNvSpPr>
          <p:nvPr/>
        </p:nvSpPr>
        <p:spPr bwMode="auto">
          <a:xfrm>
            <a:off x="857224" y="1214422"/>
            <a:ext cx="7548563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714480" y="357166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2290" name="Object 12"/>
          <p:cNvGraphicFramePr>
            <a:graphicFrameLocks noGrp="1" noChangeAspect="1"/>
          </p:cNvGraphicFramePr>
          <p:nvPr/>
        </p:nvGraphicFramePr>
        <p:xfrm>
          <a:off x="755650" y="2998788"/>
          <a:ext cx="7016750" cy="4000500"/>
        </p:xfrm>
        <a:graphic>
          <a:graphicData uri="http://schemas.openxmlformats.org/presentationml/2006/ole">
            <p:oleObj spid="_x0000_s12290" name="Worksheet" r:id="rId4" imgW="7381923" imgH="4210110" progId="Excel.Sheet.8">
              <p:embed/>
            </p:oleObj>
          </a:graphicData>
        </a:graphic>
      </p:graphicFrame>
      <p:sp>
        <p:nvSpPr>
          <p:cNvPr id="12293" name="Text Box 7"/>
          <p:cNvSpPr txBox="1">
            <a:spLocks noChangeArrowheads="1"/>
          </p:cNvSpPr>
          <p:nvPr/>
        </p:nvSpPr>
        <p:spPr bwMode="auto">
          <a:xfrm>
            <a:off x="6948264" y="3140968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323528" y="1196752"/>
            <a:ext cx="8568952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/>
              <a:t>Увеличение </a:t>
            </a:r>
            <a:r>
              <a:rPr lang="ru-RU" sz="1600" dirty="0" smtClean="0"/>
              <a:t>расходов на социальную политику </a:t>
            </a:r>
            <a:r>
              <a:rPr lang="ru-RU" sz="1600" dirty="0"/>
              <a:t>в </a:t>
            </a:r>
            <a:r>
              <a:rPr lang="ru-RU" sz="1600" dirty="0" smtClean="0"/>
              <a:t>2020-м году </a:t>
            </a:r>
            <a:r>
              <a:rPr lang="ru-RU" sz="1600" dirty="0"/>
              <a:t>обусловлено увеличением </a:t>
            </a:r>
            <a:r>
              <a:rPr lang="ru-RU" sz="1600" dirty="0" smtClean="0"/>
              <a:t>объема поступающих средств из федерального, краевого и местного бюджетов на </a:t>
            </a:r>
            <a:r>
              <a:rPr lang="ru-RU" sz="1600" dirty="0"/>
              <a:t>оплату жилого помещения и коммунальных услуг, на выплаты на случай временной нетрудоспособности и в связи с материнством</a:t>
            </a:r>
            <a:r>
              <a:rPr lang="ru-RU" sz="1600" dirty="0" smtClean="0"/>
              <a:t>, на выплаты в случае рождения третьего ребенка, </a:t>
            </a:r>
            <a:r>
              <a:rPr lang="ru-RU" sz="1600" dirty="0"/>
              <a:t>на компенсации многодетным семьям на ребенка до 18 </a:t>
            </a:r>
            <a:r>
              <a:rPr lang="ru-RU" sz="1600" dirty="0" smtClean="0"/>
              <a:t>лет, на выплаты в связи с рождением (усыновлением) первого ребенка, а так же на осуществление ежемесячных выплат на детей в возрасте от трех до семи лет включительно .</a:t>
            </a:r>
            <a:endParaRPr lang="ru-RU" sz="1600" dirty="0"/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71604" y="142852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3316" name="Text Box 7"/>
          <p:cNvSpPr txBox="1">
            <a:spLocks noChangeArrowheads="1"/>
          </p:cNvSpPr>
          <p:nvPr/>
        </p:nvSpPr>
        <p:spPr bwMode="auto">
          <a:xfrm>
            <a:off x="7072313" y="171448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00166" y="285728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/>
        </p:nvGraphicFramePr>
        <p:xfrm>
          <a:off x="827088" y="2005013"/>
          <a:ext cx="7735887" cy="4519612"/>
        </p:xfrm>
        <a:graphic>
          <a:graphicData uri="http://schemas.openxmlformats.org/presentationml/2006/ole">
            <p:oleObj spid="_x0000_s13316" name="Worksheet" r:id="rId4" imgW="7353289" imgH="42957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8" name="Диаграмма 57"/>
          <p:cNvGraphicFramePr/>
          <p:nvPr>
            <p:extLst>
              <p:ext uri="{D42A27DB-BD31-4B8C-83A1-F6EECF244321}">
                <p14:modId xmlns:p14="http://schemas.microsoft.com/office/powerpoint/2010/main" xmlns="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Овал 58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48,7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62" name="Скругленный прямоугольник 6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67,5</a:t>
              </a:r>
              <a:endParaRPr lang="ru-RU" dirty="0"/>
            </a:p>
          </p:txBody>
        </p:sp>
      </p:grpSp>
      <p:grpSp>
        <p:nvGrpSpPr>
          <p:cNvPr id="65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1%</a:t>
              </a:r>
            </a:p>
          </p:txBody>
        </p:sp>
        <p:grpSp>
          <p:nvGrpSpPr>
            <p:cNvPr id="6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6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6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72" name="Группа 13"/>
          <p:cNvGrpSpPr/>
          <p:nvPr/>
        </p:nvGrpSpPr>
        <p:grpSpPr>
          <a:xfrm>
            <a:off x="357158" y="4714884"/>
            <a:ext cx="2081846" cy="1540800"/>
            <a:chOff x="171004" y="4754736"/>
            <a:chExt cx="2268000" cy="1540800"/>
          </a:xfrm>
        </p:grpSpPr>
        <p:sp>
          <p:nvSpPr>
            <p:cNvPr id="73" name="Скругленный прямоугольник 7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75" name="Скругленный прямоугольник 7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5,3</a:t>
              </a:r>
              <a:endParaRPr lang="ru-RU" dirty="0"/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2428860" y="5715016"/>
            <a:ext cx="1143008" cy="1588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78" name="Прямоугольник 7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7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8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8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8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83" name="Группа 45"/>
          <p:cNvGrpSpPr/>
          <p:nvPr/>
        </p:nvGrpSpPr>
        <p:grpSpPr>
          <a:xfrm>
            <a:off x="6372200" y="1484784"/>
            <a:ext cx="2509799" cy="2246084"/>
            <a:chOff x="132904" y="4754736"/>
            <a:chExt cx="2081088" cy="1512168"/>
          </a:xfrm>
        </p:grpSpPr>
        <p:sp>
          <p:nvSpPr>
            <p:cNvPr id="84" name="Скругленный прямоугольник 8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86" name="Скругленный прямоугольник 8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2,5</a:t>
              </a:r>
              <a:endParaRPr lang="ru-RU" dirty="0"/>
            </a:p>
          </p:txBody>
        </p:sp>
      </p:grpSp>
      <p:cxnSp>
        <p:nvCxnSpPr>
          <p:cNvPr id="87" name="Прямая соединительная линия 86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8%</a:t>
              </a:r>
            </a:p>
          </p:txBody>
        </p:sp>
        <p:grpSp>
          <p:nvGrpSpPr>
            <p:cNvPr id="9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9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97" name="Группа 39"/>
          <p:cNvGrpSpPr/>
          <p:nvPr/>
        </p:nvGrpSpPr>
        <p:grpSpPr>
          <a:xfrm>
            <a:off x="6572264" y="4857760"/>
            <a:ext cx="2081089" cy="1309824"/>
            <a:chOff x="132904" y="4754736"/>
            <a:chExt cx="2081088" cy="1512168"/>
          </a:xfrm>
        </p:grpSpPr>
        <p:sp>
          <p:nvSpPr>
            <p:cNvPr id="98" name="Скругленный прямоугольник 97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100" name="Скругленный прямоугольник 9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,4</a:t>
              </a:r>
              <a:endParaRPr lang="ru-RU" dirty="0"/>
            </a:p>
          </p:txBody>
        </p:sp>
      </p:grpSp>
      <p:cxnSp>
        <p:nvCxnSpPr>
          <p:cNvPr id="101" name="Прямая соединительная линия 100"/>
          <p:cNvCxnSpPr/>
          <p:nvPr/>
        </p:nvCxnSpPr>
        <p:spPr>
          <a:xfrm>
            <a:off x="4857752" y="5786454"/>
            <a:ext cx="1785950" cy="15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103" name="Овал 10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0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sp>
        <p:nvSpPr>
          <p:cNvPr id="109" name="Прямоугольник 108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на меры социальной поддержки населения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110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1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3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8" grpId="0">
        <p:bldAsOne/>
      </p:bldGraphic>
      <p:bldP spid="5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82" y="3441398"/>
          <a:ext cx="8643938" cy="2457672"/>
        </p:xfrm>
        <a:graphic>
          <a:graphicData uri="http://schemas.openxmlformats.org/drawingml/2006/table">
            <a:tbl>
              <a:tblPr/>
              <a:tblGrid>
                <a:gridCol w="2857500"/>
                <a:gridCol w="1071563"/>
                <a:gridCol w="857250"/>
                <a:gridCol w="1000125"/>
                <a:gridCol w="857250"/>
                <a:gridCol w="1071562"/>
                <a:gridCol w="928688"/>
              </a:tblGrid>
              <a:tr h="559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1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 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6622">
                <a:tc>
                  <a:txBody>
                    <a:bodyPr/>
                    <a:lstStyle/>
                    <a:p>
                      <a:pPr marL="0" marR="0" lvl="0" indent="449263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9" y="1928802"/>
            <a:ext cx="7527179" cy="11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/>
              <a:t>Поддержка инвалидов</a:t>
            </a:r>
          </a:p>
          <a:p>
            <a:pPr indent="444500" algn="ctr">
              <a:defRPr/>
            </a:pPr>
            <a:r>
              <a:rPr lang="ru-RU" sz="1600" dirty="0"/>
              <a:t>На предоставление мер социальной поддержки, социальное обеспечение инвалидов в </a:t>
            </a:r>
            <a:r>
              <a:rPr lang="ru-RU" sz="1600" dirty="0" smtClean="0"/>
              <a:t>2021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2-2023 гг.</a:t>
            </a:r>
            <a:endParaRPr lang="ru-RU" sz="1600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11" name="Группа 14"/>
          <p:cNvGrpSpPr/>
          <p:nvPr/>
        </p:nvGrpSpPr>
        <p:grpSpPr>
          <a:xfrm>
            <a:off x="7831283" y="2001770"/>
            <a:ext cx="906104" cy="784288"/>
            <a:chOff x="-9094704" y="-3608569"/>
            <a:chExt cx="10696296" cy="9258301"/>
          </a:xfrm>
          <a:solidFill>
            <a:schemeClr val="accent1">
              <a:lumMod val="75000"/>
            </a:schemeClr>
          </a:solidFill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9094704" y="-2116318"/>
              <a:ext cx="9608854" cy="7766050"/>
            </a:xfrm>
            <a:custGeom>
              <a:avLst/>
              <a:gdLst>
                <a:gd name="T0" fmla="*/ 0 w 3578"/>
                <a:gd name="T1" fmla="*/ 1919 h 2441"/>
                <a:gd name="T2" fmla="*/ 2 w 3578"/>
                <a:gd name="T3" fmla="*/ 1916 h 2441"/>
                <a:gd name="T4" fmla="*/ 113 w 3578"/>
                <a:gd name="T5" fmla="*/ 1792 h 2441"/>
                <a:gd name="T6" fmla="*/ 335 w 3578"/>
                <a:gd name="T7" fmla="*/ 1671 h 2441"/>
                <a:gd name="T8" fmla="*/ 648 w 3578"/>
                <a:gd name="T9" fmla="*/ 1113 h 2441"/>
                <a:gd name="T10" fmla="*/ 651 w 3578"/>
                <a:gd name="T11" fmla="*/ 973 h 2441"/>
                <a:gd name="T12" fmla="*/ 690 w 3578"/>
                <a:gd name="T13" fmla="*/ 819 h 2441"/>
                <a:gd name="T14" fmla="*/ 1176 w 3578"/>
                <a:gd name="T15" fmla="*/ 87 h 2441"/>
                <a:gd name="T16" fmla="*/ 1399 w 3578"/>
                <a:gd name="T17" fmla="*/ 18 h 2441"/>
                <a:gd name="T18" fmla="*/ 1569 w 3578"/>
                <a:gd name="T19" fmla="*/ 146 h 2441"/>
                <a:gd name="T20" fmla="*/ 1589 w 3578"/>
                <a:gd name="T21" fmla="*/ 163 h 2441"/>
                <a:gd name="T22" fmla="*/ 2182 w 3578"/>
                <a:gd name="T23" fmla="*/ 459 h 2441"/>
                <a:gd name="T24" fmla="*/ 2253 w 3578"/>
                <a:gd name="T25" fmla="*/ 540 h 2441"/>
                <a:gd name="T26" fmla="*/ 2254 w 3578"/>
                <a:gd name="T27" fmla="*/ 608 h 2441"/>
                <a:gd name="T28" fmla="*/ 2275 w 3578"/>
                <a:gd name="T29" fmla="*/ 618 h 2441"/>
                <a:gd name="T30" fmla="*/ 2320 w 3578"/>
                <a:gd name="T31" fmla="*/ 681 h 2441"/>
                <a:gd name="T32" fmla="*/ 2341 w 3578"/>
                <a:gd name="T33" fmla="*/ 996 h 2441"/>
                <a:gd name="T34" fmla="*/ 2344 w 3578"/>
                <a:gd name="T35" fmla="*/ 1015 h 2441"/>
                <a:gd name="T36" fmla="*/ 2356 w 3578"/>
                <a:gd name="T37" fmla="*/ 1015 h 2441"/>
                <a:gd name="T38" fmla="*/ 2412 w 3578"/>
                <a:gd name="T39" fmla="*/ 1049 h 2441"/>
                <a:gd name="T40" fmla="*/ 2400 w 3578"/>
                <a:gd name="T41" fmla="*/ 1113 h 2441"/>
                <a:gd name="T42" fmla="*/ 2285 w 3578"/>
                <a:gd name="T43" fmla="*/ 1266 h 2441"/>
                <a:gd name="T44" fmla="*/ 2726 w 3578"/>
                <a:gd name="T45" fmla="*/ 2255 h 2441"/>
                <a:gd name="T46" fmla="*/ 3453 w 3578"/>
                <a:gd name="T47" fmla="*/ 1962 h 2441"/>
                <a:gd name="T48" fmla="*/ 3513 w 3578"/>
                <a:gd name="T49" fmla="*/ 1929 h 2441"/>
                <a:gd name="T50" fmla="*/ 3552 w 3578"/>
                <a:gd name="T51" fmla="*/ 2018 h 2441"/>
                <a:gd name="T52" fmla="*/ 3436 w 3578"/>
                <a:gd name="T53" fmla="*/ 2161 h 2441"/>
                <a:gd name="T54" fmla="*/ 2652 w 3578"/>
                <a:gd name="T55" fmla="*/ 2352 h 2441"/>
                <a:gd name="T56" fmla="*/ 2108 w 3578"/>
                <a:gd name="T57" fmla="*/ 1768 h 2441"/>
                <a:gd name="T58" fmla="*/ 2226 w 3578"/>
                <a:gd name="T59" fmla="*/ 1146 h 2441"/>
                <a:gd name="T60" fmla="*/ 2235 w 3578"/>
                <a:gd name="T61" fmla="*/ 1115 h 2441"/>
                <a:gd name="T62" fmla="*/ 2209 w 3578"/>
                <a:gd name="T63" fmla="*/ 737 h 2441"/>
                <a:gd name="T64" fmla="*/ 2203 w 3578"/>
                <a:gd name="T65" fmla="*/ 713 h 2441"/>
                <a:gd name="T66" fmla="*/ 2156 w 3578"/>
                <a:gd name="T67" fmla="*/ 699 h 2441"/>
                <a:gd name="T68" fmla="*/ 2053 w 3578"/>
                <a:gd name="T69" fmla="*/ 683 h 2441"/>
                <a:gd name="T70" fmla="*/ 1548 w 3578"/>
                <a:gd name="T71" fmla="*/ 431 h 2441"/>
                <a:gd name="T72" fmla="*/ 1526 w 3578"/>
                <a:gd name="T73" fmla="*/ 420 h 2441"/>
                <a:gd name="T74" fmla="*/ 1477 w 3578"/>
                <a:gd name="T75" fmla="*/ 483 h 2441"/>
                <a:gd name="T76" fmla="*/ 1148 w 3578"/>
                <a:gd name="T77" fmla="*/ 993 h 2441"/>
                <a:gd name="T78" fmla="*/ 1153 w 3578"/>
                <a:gd name="T79" fmla="*/ 1021 h 2441"/>
                <a:gd name="T80" fmla="*/ 1398 w 3578"/>
                <a:gd name="T81" fmla="*/ 1408 h 2441"/>
                <a:gd name="T82" fmla="*/ 1615 w 3578"/>
                <a:gd name="T83" fmla="*/ 2020 h 2441"/>
                <a:gd name="T84" fmla="*/ 1606 w 3578"/>
                <a:gd name="T85" fmla="*/ 2130 h 2441"/>
                <a:gd name="T86" fmla="*/ 1418 w 3578"/>
                <a:gd name="T87" fmla="*/ 2204 h 2441"/>
                <a:gd name="T88" fmla="*/ 1296 w 3578"/>
                <a:gd name="T89" fmla="*/ 2072 h 2441"/>
                <a:gd name="T90" fmla="*/ 1096 w 3578"/>
                <a:gd name="T91" fmla="*/ 1525 h 2441"/>
                <a:gd name="T92" fmla="*/ 956 w 3578"/>
                <a:gd name="T93" fmla="*/ 1299 h 2441"/>
                <a:gd name="T94" fmla="*/ 947 w 3578"/>
                <a:gd name="T95" fmla="*/ 1286 h 2441"/>
                <a:gd name="T96" fmla="*/ 938 w 3578"/>
                <a:gd name="T97" fmla="*/ 1323 h 2441"/>
                <a:gd name="T98" fmla="*/ 388 w 3578"/>
                <a:gd name="T99" fmla="*/ 2015 h 2441"/>
                <a:gd name="T100" fmla="*/ 205 w 3578"/>
                <a:gd name="T101" fmla="*/ 2097 h 2441"/>
                <a:gd name="T102" fmla="*/ 3 w 3578"/>
                <a:gd name="T103" fmla="*/ 1974 h 2441"/>
                <a:gd name="T104" fmla="*/ 0 w 3578"/>
                <a:gd name="T105" fmla="*/ 1967 h 2441"/>
                <a:gd name="T106" fmla="*/ 0 w 3578"/>
                <a:gd name="T107" fmla="*/ 1919 h 2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78" h="2441">
                  <a:moveTo>
                    <a:pt x="0" y="1919"/>
                  </a:moveTo>
                  <a:cubicBezTo>
                    <a:pt x="1" y="1918"/>
                    <a:pt x="2" y="1917"/>
                    <a:pt x="2" y="1916"/>
                  </a:cubicBezTo>
                  <a:cubicBezTo>
                    <a:pt x="15" y="1853"/>
                    <a:pt x="55" y="1815"/>
                    <a:pt x="113" y="1792"/>
                  </a:cubicBezTo>
                  <a:cubicBezTo>
                    <a:pt x="192" y="1761"/>
                    <a:pt x="266" y="1721"/>
                    <a:pt x="335" y="1671"/>
                  </a:cubicBezTo>
                  <a:cubicBezTo>
                    <a:pt x="523" y="1532"/>
                    <a:pt x="629" y="1347"/>
                    <a:pt x="648" y="1113"/>
                  </a:cubicBezTo>
                  <a:cubicBezTo>
                    <a:pt x="652" y="1067"/>
                    <a:pt x="652" y="1020"/>
                    <a:pt x="651" y="973"/>
                  </a:cubicBezTo>
                  <a:cubicBezTo>
                    <a:pt x="650" y="918"/>
                    <a:pt x="663" y="867"/>
                    <a:pt x="690" y="819"/>
                  </a:cubicBezTo>
                  <a:cubicBezTo>
                    <a:pt x="832" y="561"/>
                    <a:pt x="993" y="317"/>
                    <a:pt x="1176" y="87"/>
                  </a:cubicBezTo>
                  <a:cubicBezTo>
                    <a:pt x="1234" y="13"/>
                    <a:pt x="1313" y="0"/>
                    <a:pt x="1399" y="18"/>
                  </a:cubicBezTo>
                  <a:cubicBezTo>
                    <a:pt x="1475" y="33"/>
                    <a:pt x="1533" y="76"/>
                    <a:pt x="1569" y="146"/>
                  </a:cubicBezTo>
                  <a:cubicBezTo>
                    <a:pt x="1572" y="153"/>
                    <a:pt x="1581" y="159"/>
                    <a:pt x="1589" y="163"/>
                  </a:cubicBezTo>
                  <a:cubicBezTo>
                    <a:pt x="1787" y="262"/>
                    <a:pt x="1984" y="361"/>
                    <a:pt x="2182" y="459"/>
                  </a:cubicBezTo>
                  <a:cubicBezTo>
                    <a:pt x="2217" y="477"/>
                    <a:pt x="2246" y="499"/>
                    <a:pt x="2253" y="540"/>
                  </a:cubicBezTo>
                  <a:cubicBezTo>
                    <a:pt x="2257" y="561"/>
                    <a:pt x="2254" y="583"/>
                    <a:pt x="2254" y="608"/>
                  </a:cubicBezTo>
                  <a:cubicBezTo>
                    <a:pt x="2258" y="610"/>
                    <a:pt x="2266" y="615"/>
                    <a:pt x="2275" y="618"/>
                  </a:cubicBezTo>
                  <a:cubicBezTo>
                    <a:pt x="2305" y="628"/>
                    <a:pt x="2318" y="650"/>
                    <a:pt x="2320" y="681"/>
                  </a:cubicBezTo>
                  <a:cubicBezTo>
                    <a:pt x="2327" y="786"/>
                    <a:pt x="2334" y="891"/>
                    <a:pt x="2341" y="996"/>
                  </a:cubicBezTo>
                  <a:cubicBezTo>
                    <a:pt x="2341" y="1002"/>
                    <a:pt x="2343" y="1008"/>
                    <a:pt x="2344" y="1015"/>
                  </a:cubicBezTo>
                  <a:cubicBezTo>
                    <a:pt x="2348" y="1015"/>
                    <a:pt x="2352" y="1015"/>
                    <a:pt x="2356" y="1015"/>
                  </a:cubicBezTo>
                  <a:cubicBezTo>
                    <a:pt x="2382" y="1014"/>
                    <a:pt x="2401" y="1025"/>
                    <a:pt x="2412" y="1049"/>
                  </a:cubicBezTo>
                  <a:cubicBezTo>
                    <a:pt x="2422" y="1072"/>
                    <a:pt x="2418" y="1095"/>
                    <a:pt x="2400" y="1113"/>
                  </a:cubicBezTo>
                  <a:cubicBezTo>
                    <a:pt x="2355" y="1159"/>
                    <a:pt x="2316" y="1210"/>
                    <a:pt x="2285" y="1266"/>
                  </a:cubicBezTo>
                  <a:cubicBezTo>
                    <a:pt x="2068" y="1654"/>
                    <a:pt x="2292" y="2157"/>
                    <a:pt x="2726" y="2255"/>
                  </a:cubicBezTo>
                  <a:cubicBezTo>
                    <a:pt x="3011" y="2320"/>
                    <a:pt x="3290" y="2207"/>
                    <a:pt x="3453" y="1962"/>
                  </a:cubicBezTo>
                  <a:cubicBezTo>
                    <a:pt x="3467" y="1940"/>
                    <a:pt x="3485" y="1925"/>
                    <a:pt x="3513" y="1929"/>
                  </a:cubicBezTo>
                  <a:cubicBezTo>
                    <a:pt x="3556" y="1934"/>
                    <a:pt x="3578" y="1982"/>
                    <a:pt x="3552" y="2018"/>
                  </a:cubicBezTo>
                  <a:cubicBezTo>
                    <a:pt x="3516" y="2068"/>
                    <a:pt x="3481" y="2119"/>
                    <a:pt x="3436" y="2161"/>
                  </a:cubicBezTo>
                  <a:cubicBezTo>
                    <a:pt x="3212" y="2373"/>
                    <a:pt x="2946" y="2441"/>
                    <a:pt x="2652" y="2352"/>
                  </a:cubicBezTo>
                  <a:cubicBezTo>
                    <a:pt x="2362" y="2264"/>
                    <a:pt x="2179" y="2063"/>
                    <a:pt x="2108" y="1768"/>
                  </a:cubicBezTo>
                  <a:cubicBezTo>
                    <a:pt x="2055" y="1545"/>
                    <a:pt x="2099" y="1337"/>
                    <a:pt x="2226" y="1146"/>
                  </a:cubicBezTo>
                  <a:cubicBezTo>
                    <a:pt x="2232" y="1138"/>
                    <a:pt x="2236" y="1126"/>
                    <a:pt x="2235" y="1115"/>
                  </a:cubicBezTo>
                  <a:cubicBezTo>
                    <a:pt x="2227" y="989"/>
                    <a:pt x="2218" y="863"/>
                    <a:pt x="2209" y="737"/>
                  </a:cubicBezTo>
                  <a:cubicBezTo>
                    <a:pt x="2209" y="728"/>
                    <a:pt x="2208" y="715"/>
                    <a:pt x="2203" y="713"/>
                  </a:cubicBezTo>
                  <a:cubicBezTo>
                    <a:pt x="2188" y="706"/>
                    <a:pt x="2170" y="696"/>
                    <a:pt x="2156" y="699"/>
                  </a:cubicBezTo>
                  <a:cubicBezTo>
                    <a:pt x="2119" y="705"/>
                    <a:pt x="2086" y="700"/>
                    <a:pt x="2053" y="683"/>
                  </a:cubicBezTo>
                  <a:cubicBezTo>
                    <a:pt x="1885" y="599"/>
                    <a:pt x="1716" y="515"/>
                    <a:pt x="1548" y="431"/>
                  </a:cubicBezTo>
                  <a:cubicBezTo>
                    <a:pt x="1541" y="427"/>
                    <a:pt x="1535" y="424"/>
                    <a:pt x="1526" y="420"/>
                  </a:cubicBezTo>
                  <a:cubicBezTo>
                    <a:pt x="1510" y="441"/>
                    <a:pt x="1493" y="462"/>
                    <a:pt x="1477" y="483"/>
                  </a:cubicBezTo>
                  <a:cubicBezTo>
                    <a:pt x="1355" y="645"/>
                    <a:pt x="1248" y="817"/>
                    <a:pt x="1148" y="993"/>
                  </a:cubicBezTo>
                  <a:cubicBezTo>
                    <a:pt x="1140" y="1006"/>
                    <a:pt x="1146" y="1012"/>
                    <a:pt x="1153" y="1021"/>
                  </a:cubicBezTo>
                  <a:cubicBezTo>
                    <a:pt x="1247" y="1142"/>
                    <a:pt x="1328" y="1272"/>
                    <a:pt x="1398" y="1408"/>
                  </a:cubicBezTo>
                  <a:cubicBezTo>
                    <a:pt x="1498" y="1603"/>
                    <a:pt x="1569" y="1807"/>
                    <a:pt x="1615" y="2020"/>
                  </a:cubicBezTo>
                  <a:cubicBezTo>
                    <a:pt x="1623" y="2057"/>
                    <a:pt x="1622" y="2094"/>
                    <a:pt x="1606" y="2130"/>
                  </a:cubicBezTo>
                  <a:cubicBezTo>
                    <a:pt x="1575" y="2194"/>
                    <a:pt x="1495" y="2227"/>
                    <a:pt x="1418" y="2204"/>
                  </a:cubicBezTo>
                  <a:cubicBezTo>
                    <a:pt x="1351" y="2185"/>
                    <a:pt x="1311" y="2140"/>
                    <a:pt x="1296" y="2072"/>
                  </a:cubicBezTo>
                  <a:cubicBezTo>
                    <a:pt x="1255" y="1880"/>
                    <a:pt x="1191" y="1696"/>
                    <a:pt x="1096" y="1525"/>
                  </a:cubicBezTo>
                  <a:cubicBezTo>
                    <a:pt x="1053" y="1448"/>
                    <a:pt x="1003" y="1374"/>
                    <a:pt x="956" y="1299"/>
                  </a:cubicBezTo>
                  <a:cubicBezTo>
                    <a:pt x="954" y="1295"/>
                    <a:pt x="952" y="1293"/>
                    <a:pt x="947" y="1286"/>
                  </a:cubicBezTo>
                  <a:cubicBezTo>
                    <a:pt x="943" y="1300"/>
                    <a:pt x="940" y="1312"/>
                    <a:pt x="938" y="1323"/>
                  </a:cubicBezTo>
                  <a:cubicBezTo>
                    <a:pt x="858" y="1636"/>
                    <a:pt x="669" y="1862"/>
                    <a:pt x="388" y="2015"/>
                  </a:cubicBezTo>
                  <a:cubicBezTo>
                    <a:pt x="329" y="2047"/>
                    <a:pt x="268" y="2078"/>
                    <a:pt x="205" y="2097"/>
                  </a:cubicBezTo>
                  <a:cubicBezTo>
                    <a:pt x="107" y="2128"/>
                    <a:pt x="25" y="2075"/>
                    <a:pt x="3" y="1974"/>
                  </a:cubicBezTo>
                  <a:cubicBezTo>
                    <a:pt x="3" y="1972"/>
                    <a:pt x="1" y="1969"/>
                    <a:pt x="0" y="1967"/>
                  </a:cubicBezTo>
                  <a:cubicBezTo>
                    <a:pt x="0" y="1951"/>
                    <a:pt x="0" y="1935"/>
                    <a:pt x="0" y="19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-2367545" y="-1193978"/>
              <a:ext cx="3969137" cy="5924553"/>
            </a:xfrm>
            <a:custGeom>
              <a:avLst/>
              <a:gdLst>
                <a:gd name="T0" fmla="*/ 1478 w 1478"/>
                <a:gd name="T1" fmla="*/ 1725 h 1862"/>
                <a:gd name="T2" fmla="*/ 1475 w 1478"/>
                <a:gd name="T3" fmla="*/ 1732 h 1862"/>
                <a:gd name="T4" fmla="*/ 1369 w 1478"/>
                <a:gd name="T5" fmla="*/ 1846 h 1862"/>
                <a:gd name="T6" fmla="*/ 1211 w 1478"/>
                <a:gd name="T7" fmla="*/ 1798 h 1862"/>
                <a:gd name="T8" fmla="*/ 1170 w 1478"/>
                <a:gd name="T9" fmla="*/ 1730 h 1862"/>
                <a:gd name="T10" fmla="*/ 938 w 1478"/>
                <a:gd name="T11" fmla="*/ 1178 h 1862"/>
                <a:gd name="T12" fmla="*/ 930 w 1478"/>
                <a:gd name="T13" fmla="*/ 1160 h 1862"/>
                <a:gd name="T14" fmla="*/ 670 w 1478"/>
                <a:gd name="T15" fmla="*/ 1160 h 1862"/>
                <a:gd name="T16" fmla="*/ 189 w 1478"/>
                <a:gd name="T17" fmla="*/ 1157 h 1862"/>
                <a:gd name="T18" fmla="*/ 3 w 1478"/>
                <a:gd name="T19" fmla="*/ 977 h 1862"/>
                <a:gd name="T20" fmla="*/ 12 w 1478"/>
                <a:gd name="T21" fmla="*/ 780 h 1862"/>
                <a:gd name="T22" fmla="*/ 94 w 1478"/>
                <a:gd name="T23" fmla="*/ 202 h 1862"/>
                <a:gd name="T24" fmla="*/ 273 w 1478"/>
                <a:gd name="T25" fmla="*/ 21 h 1862"/>
                <a:gd name="T26" fmla="*/ 497 w 1478"/>
                <a:gd name="T27" fmla="*/ 90 h 1862"/>
                <a:gd name="T28" fmla="*/ 723 w 1478"/>
                <a:gd name="T29" fmla="*/ 341 h 1862"/>
                <a:gd name="T30" fmla="*/ 974 w 1478"/>
                <a:gd name="T31" fmla="*/ 601 h 1862"/>
                <a:gd name="T32" fmla="*/ 946 w 1478"/>
                <a:gd name="T33" fmla="*/ 831 h 1862"/>
                <a:gd name="T34" fmla="*/ 929 w 1478"/>
                <a:gd name="T35" fmla="*/ 841 h 1862"/>
                <a:gd name="T36" fmla="*/ 1005 w 1478"/>
                <a:gd name="T37" fmla="*/ 845 h 1862"/>
                <a:gd name="T38" fmla="*/ 1188 w 1478"/>
                <a:gd name="T39" fmla="*/ 973 h 1862"/>
                <a:gd name="T40" fmla="*/ 1458 w 1478"/>
                <a:gd name="T41" fmla="*/ 1611 h 1862"/>
                <a:gd name="T42" fmla="*/ 1478 w 1478"/>
                <a:gd name="T43" fmla="*/ 1673 h 1862"/>
                <a:gd name="T44" fmla="*/ 1478 w 1478"/>
                <a:gd name="T45" fmla="*/ 1725 h 1862"/>
                <a:gd name="T46" fmla="*/ 492 w 1478"/>
                <a:gd name="T47" fmla="*/ 836 h 1862"/>
                <a:gd name="T48" fmla="*/ 817 w 1478"/>
                <a:gd name="T49" fmla="*/ 843 h 1862"/>
                <a:gd name="T50" fmla="*/ 525 w 1478"/>
                <a:gd name="T51" fmla="*/ 555 h 1862"/>
                <a:gd name="T52" fmla="*/ 492 w 1478"/>
                <a:gd name="T53" fmla="*/ 836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78" h="1862">
                  <a:moveTo>
                    <a:pt x="1478" y="1725"/>
                  </a:moveTo>
                  <a:cubicBezTo>
                    <a:pt x="1477" y="1727"/>
                    <a:pt x="1475" y="1730"/>
                    <a:pt x="1475" y="1732"/>
                  </a:cubicBezTo>
                  <a:cubicBezTo>
                    <a:pt x="1464" y="1793"/>
                    <a:pt x="1428" y="1831"/>
                    <a:pt x="1369" y="1846"/>
                  </a:cubicBezTo>
                  <a:cubicBezTo>
                    <a:pt x="1306" y="1862"/>
                    <a:pt x="1253" y="1845"/>
                    <a:pt x="1211" y="1798"/>
                  </a:cubicBezTo>
                  <a:cubicBezTo>
                    <a:pt x="1194" y="1778"/>
                    <a:pt x="1180" y="1754"/>
                    <a:pt x="1170" y="1730"/>
                  </a:cubicBezTo>
                  <a:cubicBezTo>
                    <a:pt x="1092" y="1546"/>
                    <a:pt x="1015" y="1362"/>
                    <a:pt x="938" y="1178"/>
                  </a:cubicBezTo>
                  <a:cubicBezTo>
                    <a:pt x="935" y="1171"/>
                    <a:pt x="932" y="1165"/>
                    <a:pt x="930" y="1160"/>
                  </a:cubicBezTo>
                  <a:cubicBezTo>
                    <a:pt x="842" y="1160"/>
                    <a:pt x="756" y="1160"/>
                    <a:pt x="670" y="1160"/>
                  </a:cubicBezTo>
                  <a:cubicBezTo>
                    <a:pt x="510" y="1159"/>
                    <a:pt x="349" y="1159"/>
                    <a:pt x="189" y="1157"/>
                  </a:cubicBezTo>
                  <a:cubicBezTo>
                    <a:pt x="85" y="1155"/>
                    <a:pt x="9" y="1083"/>
                    <a:pt x="3" y="977"/>
                  </a:cubicBezTo>
                  <a:cubicBezTo>
                    <a:pt x="0" y="911"/>
                    <a:pt x="4" y="845"/>
                    <a:pt x="12" y="780"/>
                  </a:cubicBezTo>
                  <a:cubicBezTo>
                    <a:pt x="37" y="587"/>
                    <a:pt x="65" y="394"/>
                    <a:pt x="94" y="202"/>
                  </a:cubicBezTo>
                  <a:cubicBezTo>
                    <a:pt x="107" y="111"/>
                    <a:pt x="176" y="44"/>
                    <a:pt x="273" y="21"/>
                  </a:cubicBezTo>
                  <a:cubicBezTo>
                    <a:pt x="362" y="0"/>
                    <a:pt x="436" y="26"/>
                    <a:pt x="497" y="90"/>
                  </a:cubicBezTo>
                  <a:cubicBezTo>
                    <a:pt x="574" y="172"/>
                    <a:pt x="646" y="259"/>
                    <a:pt x="723" y="341"/>
                  </a:cubicBezTo>
                  <a:cubicBezTo>
                    <a:pt x="805" y="429"/>
                    <a:pt x="887" y="519"/>
                    <a:pt x="974" y="601"/>
                  </a:cubicBezTo>
                  <a:cubicBezTo>
                    <a:pt x="1067" y="688"/>
                    <a:pt x="1019" y="791"/>
                    <a:pt x="946" y="831"/>
                  </a:cubicBezTo>
                  <a:cubicBezTo>
                    <a:pt x="942" y="833"/>
                    <a:pt x="938" y="836"/>
                    <a:pt x="929" y="841"/>
                  </a:cubicBezTo>
                  <a:cubicBezTo>
                    <a:pt x="958" y="842"/>
                    <a:pt x="981" y="843"/>
                    <a:pt x="1005" y="845"/>
                  </a:cubicBezTo>
                  <a:cubicBezTo>
                    <a:pt x="1093" y="849"/>
                    <a:pt x="1153" y="891"/>
                    <a:pt x="1188" y="973"/>
                  </a:cubicBezTo>
                  <a:cubicBezTo>
                    <a:pt x="1277" y="1186"/>
                    <a:pt x="1368" y="1398"/>
                    <a:pt x="1458" y="1611"/>
                  </a:cubicBezTo>
                  <a:cubicBezTo>
                    <a:pt x="1466" y="1631"/>
                    <a:pt x="1471" y="1652"/>
                    <a:pt x="1478" y="1673"/>
                  </a:cubicBezTo>
                  <a:cubicBezTo>
                    <a:pt x="1478" y="1690"/>
                    <a:pt x="1478" y="1708"/>
                    <a:pt x="1478" y="1725"/>
                  </a:cubicBezTo>
                  <a:close/>
                  <a:moveTo>
                    <a:pt x="492" y="836"/>
                  </a:moveTo>
                  <a:cubicBezTo>
                    <a:pt x="603" y="838"/>
                    <a:pt x="710" y="840"/>
                    <a:pt x="817" y="843"/>
                  </a:cubicBezTo>
                  <a:cubicBezTo>
                    <a:pt x="712" y="755"/>
                    <a:pt x="621" y="656"/>
                    <a:pt x="525" y="555"/>
                  </a:cubicBezTo>
                  <a:cubicBezTo>
                    <a:pt x="514" y="651"/>
                    <a:pt x="503" y="742"/>
                    <a:pt x="492" y="8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-6338857" y="-3608569"/>
              <a:ext cx="1531024" cy="1727204"/>
            </a:xfrm>
            <a:custGeom>
              <a:avLst/>
              <a:gdLst>
                <a:gd name="T0" fmla="*/ 315 w 570"/>
                <a:gd name="T1" fmla="*/ 0 h 543"/>
                <a:gd name="T2" fmla="*/ 381 w 570"/>
                <a:gd name="T3" fmla="*/ 20 h 543"/>
                <a:gd name="T4" fmla="*/ 546 w 570"/>
                <a:gd name="T5" fmla="*/ 321 h 543"/>
                <a:gd name="T6" fmla="*/ 288 w 570"/>
                <a:gd name="T7" fmla="*/ 539 h 543"/>
                <a:gd name="T8" fmla="*/ 13 w 570"/>
                <a:gd name="T9" fmla="*/ 288 h 543"/>
                <a:gd name="T10" fmla="*/ 238 w 570"/>
                <a:gd name="T11" fmla="*/ 4 h 543"/>
                <a:gd name="T12" fmla="*/ 251 w 570"/>
                <a:gd name="T13" fmla="*/ 0 h 543"/>
                <a:gd name="T14" fmla="*/ 315 w 570"/>
                <a:gd name="T15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0" h="543">
                  <a:moveTo>
                    <a:pt x="315" y="0"/>
                  </a:moveTo>
                  <a:cubicBezTo>
                    <a:pt x="337" y="6"/>
                    <a:pt x="360" y="11"/>
                    <a:pt x="381" y="20"/>
                  </a:cubicBezTo>
                  <a:cubicBezTo>
                    <a:pt x="503" y="68"/>
                    <a:pt x="570" y="192"/>
                    <a:pt x="546" y="321"/>
                  </a:cubicBezTo>
                  <a:cubicBezTo>
                    <a:pt x="524" y="444"/>
                    <a:pt x="414" y="536"/>
                    <a:pt x="288" y="539"/>
                  </a:cubicBezTo>
                  <a:cubicBezTo>
                    <a:pt x="145" y="543"/>
                    <a:pt x="27" y="435"/>
                    <a:pt x="13" y="288"/>
                  </a:cubicBezTo>
                  <a:cubicBezTo>
                    <a:pt x="0" y="154"/>
                    <a:pt x="101" y="26"/>
                    <a:pt x="238" y="4"/>
                  </a:cubicBezTo>
                  <a:cubicBezTo>
                    <a:pt x="242" y="3"/>
                    <a:pt x="247" y="1"/>
                    <a:pt x="251" y="0"/>
                  </a:cubicBezTo>
                  <a:cubicBezTo>
                    <a:pt x="272" y="0"/>
                    <a:pt x="294" y="0"/>
                    <a:pt x="3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-2652727" y="-3064052"/>
              <a:ext cx="1496137" cy="1768470"/>
            </a:xfrm>
            <a:custGeom>
              <a:avLst/>
              <a:gdLst>
                <a:gd name="T0" fmla="*/ 278 w 557"/>
                <a:gd name="T1" fmla="*/ 0 h 556"/>
                <a:gd name="T2" fmla="*/ 556 w 557"/>
                <a:gd name="T3" fmla="*/ 279 h 556"/>
                <a:gd name="T4" fmla="*/ 278 w 557"/>
                <a:gd name="T5" fmla="*/ 556 h 556"/>
                <a:gd name="T6" fmla="*/ 0 w 557"/>
                <a:gd name="T7" fmla="*/ 278 h 556"/>
                <a:gd name="T8" fmla="*/ 278 w 557"/>
                <a:gd name="T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556">
                  <a:moveTo>
                    <a:pt x="278" y="0"/>
                  </a:moveTo>
                  <a:cubicBezTo>
                    <a:pt x="432" y="0"/>
                    <a:pt x="557" y="125"/>
                    <a:pt x="556" y="279"/>
                  </a:cubicBezTo>
                  <a:cubicBezTo>
                    <a:pt x="555" y="431"/>
                    <a:pt x="431" y="556"/>
                    <a:pt x="278" y="556"/>
                  </a:cubicBezTo>
                  <a:cubicBezTo>
                    <a:pt x="125" y="556"/>
                    <a:pt x="0" y="432"/>
                    <a:pt x="0" y="278"/>
                  </a:cubicBezTo>
                  <a:cubicBezTo>
                    <a:pt x="0" y="124"/>
                    <a:pt x="124" y="0"/>
                    <a:pt x="2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786050" y="5857892"/>
            <a:ext cx="5715013" cy="7858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униципальный долг</a:t>
            </a:r>
            <a:r>
              <a:rPr lang="ru-RU" sz="1400" b="1" dirty="0">
                <a:solidFill>
                  <a:schemeClr val="tx1"/>
                </a:solidFill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857232"/>
            <a:ext cx="8215341" cy="7858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ежбюджетные трансферты</a:t>
            </a:r>
            <a:r>
              <a:rPr lang="ru-RU" sz="1400" b="1" dirty="0">
                <a:solidFill>
                  <a:schemeClr val="tx1"/>
                </a:solidFill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313" y="2000250"/>
            <a:ext cx="2000250" cy="257175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Дота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715008" y="1857364"/>
            <a:ext cx="3071814" cy="40005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u="sng" dirty="0">
                <a:solidFill>
                  <a:schemeClr val="tx1"/>
                </a:solidFill>
              </a:rPr>
              <a:t>Субвен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43188" y="2000250"/>
            <a:ext cx="2786068" cy="32147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Субсид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8546" name="Picture 2" descr="https://zakonoved.su/wp-content/uploads/2019/02/%D0%A1%D1%83%D0%B1%D1%81%D0%B8%D0%B4%D0%B8%D0%B8-%D0%BD%D0%B0-%D0%BE%D1%82%D0%BA%D1%80%D1%8B%D1%82%D0%B8%D0%B5-%D0%B8-%D0%BF%D0%BE%D0%B4%D0%B4%D0%B5%D1%80%D0%B6%D0%BA%D1%83-%D0%BC%D0%B0%D0%BB%D0%BE%D0%B3%D0%BE-%D0%B1%D0%B8%D0%B7%D0%BD%D0%B5%D1%81%D0%B0-300x2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953000"/>
            <a:ext cx="2857500" cy="1905000"/>
          </a:xfrm>
          <a:prstGeom prst="rect">
            <a:avLst/>
          </a:prstGeom>
          <a:noFill/>
        </p:spPr>
      </p:pic>
      <p:sp>
        <p:nvSpPr>
          <p:cNvPr id="14" name="Стрелка вниз 13"/>
          <p:cNvSpPr/>
          <p:nvPr/>
        </p:nvSpPr>
        <p:spPr>
          <a:xfrm>
            <a:off x="107153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392905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низ 16"/>
          <p:cNvSpPr/>
          <p:nvPr/>
        </p:nvSpPr>
        <p:spPr>
          <a:xfrm>
            <a:off x="7215206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071546"/>
            <a:ext cx="8429625" cy="71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 smtClean="0"/>
              <a:t>На </a:t>
            </a:r>
            <a:r>
              <a:rPr lang="ru-RU" sz="1600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dirty="0" smtClean="0"/>
              <a:t>2021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2-2023 годах.</a:t>
            </a:r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25" y="1866084"/>
          <a:ext cx="8358188" cy="4754880"/>
        </p:xfrm>
        <a:graphic>
          <a:graphicData uri="http://schemas.openxmlformats.org/drawingml/2006/table">
            <a:tbl>
              <a:tblPr/>
              <a:tblGrid>
                <a:gridCol w="2441575"/>
                <a:gridCol w="1536700"/>
                <a:gridCol w="922338"/>
                <a:gridCol w="922337"/>
                <a:gridCol w="844550"/>
                <a:gridCol w="846138"/>
                <a:gridCol w="844550"/>
              </a:tblGrid>
              <a:tr h="1802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и труженикам тыла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964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713,12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5510,3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1660,68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2540,5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74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79,4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66,1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м погибших ветеранов боевых действ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859,59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,19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859,5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8 человек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8,61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08,6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08,6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88" y="2214565"/>
          <a:ext cx="8501063" cy="4357707"/>
        </p:xfrm>
        <a:graphic>
          <a:graphicData uri="http://schemas.openxmlformats.org/drawingml/2006/table">
            <a:tbl>
              <a:tblPr/>
              <a:tblGrid>
                <a:gridCol w="2482850"/>
                <a:gridCol w="1562100"/>
                <a:gridCol w="939800"/>
                <a:gridCol w="938213"/>
                <a:gridCol w="858837"/>
                <a:gridCol w="860425"/>
                <a:gridCol w="85883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651 человек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29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82,0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9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9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4570,36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122,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147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247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85860"/>
            <a:ext cx="8429625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, пенсионеров и других категорий населения) в 2021 году и плановый период 2022-2023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142852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34" y="2500306"/>
          <a:ext cx="8286750" cy="2883218"/>
        </p:xfrm>
        <a:graphic>
          <a:graphicData uri="http://schemas.openxmlformats.org/drawingml/2006/table">
            <a:tbl>
              <a:tblPr/>
              <a:tblGrid>
                <a:gridCol w="3071812"/>
                <a:gridCol w="1000125"/>
                <a:gridCol w="785813"/>
                <a:gridCol w="857250"/>
                <a:gridCol w="785812"/>
                <a:gridCol w="857250"/>
                <a:gridCol w="928688"/>
              </a:tblGrid>
              <a:tr h="1524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5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7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субсидии на оплату жилого помещения и  коммун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03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335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9809,9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087,7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27150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спортивной одежды и обуви и школьных принадлежнос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1161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428736"/>
            <a:ext cx="8429625" cy="78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</a:t>
            </a:r>
            <a:r>
              <a:rPr lang="ru-RU" sz="1600" b="1" dirty="0"/>
              <a:t>, пенсионеров и других категорий </a:t>
            </a:r>
            <a:r>
              <a:rPr lang="ru-RU" sz="1600" b="1" dirty="0" smtClean="0"/>
              <a:t>населения) </a:t>
            </a:r>
            <a:r>
              <a:rPr lang="ru-RU" sz="1600" b="1" dirty="0"/>
              <a:t>в </a:t>
            </a:r>
            <a:r>
              <a:rPr lang="ru-RU" sz="1600" b="1" dirty="0" smtClean="0"/>
              <a:t>2021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2-2023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214290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874542"/>
          <a:ext cx="8429625" cy="4986312"/>
        </p:xfrm>
        <a:graphic>
          <a:graphicData uri="http://schemas.openxmlformats.org/drawingml/2006/table">
            <a:tbl>
              <a:tblPr/>
              <a:tblGrid>
                <a:gridCol w="2928937"/>
                <a:gridCol w="1143000"/>
                <a:gridCol w="785813"/>
                <a:gridCol w="1071562"/>
                <a:gridCol w="785813"/>
                <a:gridCol w="1000125"/>
                <a:gridCol w="714375"/>
              </a:tblGrid>
              <a:tr h="2555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88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месячного пособия на ребен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984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984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142,7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многодетным семья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21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073,5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600,0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142,7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годного социального пособия на проезд учащимся (студентам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82,55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4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9843,00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0844,2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266,0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266,0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е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752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е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– 6752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8798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9990,7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9955,9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38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58" y="1142984"/>
            <a:ext cx="8215369" cy="78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</a:t>
            </a:r>
            <a:r>
              <a:rPr lang="ru-RU" sz="1600" b="1" dirty="0" smtClean="0"/>
              <a:t>поддержки семьям с детьми </a:t>
            </a:r>
            <a:r>
              <a:rPr lang="ru-RU" sz="1600" b="1" dirty="0"/>
              <a:t>в </a:t>
            </a:r>
            <a:r>
              <a:rPr lang="ru-RU" sz="1600" b="1" dirty="0" smtClean="0"/>
              <a:t>2021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2-2023 годах.</a:t>
            </a:r>
            <a:endParaRPr lang="ru-RU" sz="1400" b="1" dirty="0"/>
          </a:p>
        </p:txBody>
      </p:sp>
      <p:grpSp>
        <p:nvGrpSpPr>
          <p:cNvPr id="10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3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58" y="2214554"/>
          <a:ext cx="8501063" cy="3740150"/>
        </p:xfrm>
        <a:graphic>
          <a:graphicData uri="http://schemas.openxmlformats.org/drawingml/2006/table">
            <a:tbl>
              <a:tblPr/>
              <a:tblGrid>
                <a:gridCol w="2786063"/>
                <a:gridCol w="1357312"/>
                <a:gridCol w="714375"/>
                <a:gridCol w="928688"/>
                <a:gridCol w="820737"/>
                <a:gridCol w="947738"/>
                <a:gridCol w="946150"/>
              </a:tblGrid>
              <a:tr h="2222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286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04,12ру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е денежных средств на содержание ребенка опекуну (попечителю)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455,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674,0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4700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ы единовременных пособий усыновителям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8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.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50,0тыс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0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6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8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5300" name="Rectangle 2"/>
          <p:cNvSpPr>
            <a:spLocks noChangeArrowheads="1"/>
          </p:cNvSpPr>
          <p:nvPr/>
        </p:nvSpPr>
        <p:spPr bwMode="auto">
          <a:xfrm>
            <a:off x="642910" y="1285860"/>
            <a:ext cx="7858180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/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3500438"/>
          <a:ext cx="8501092" cy="2638426"/>
        </p:xfrm>
        <a:graphic>
          <a:graphicData uri="http://schemas.openxmlformats.org/drawingml/2006/table">
            <a:tbl>
              <a:tblPr/>
              <a:tblGrid>
                <a:gridCol w="896509"/>
                <a:gridCol w="2682891"/>
                <a:gridCol w="1064040"/>
                <a:gridCol w="1000132"/>
                <a:gridCol w="1000132"/>
                <a:gridCol w="1000132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,1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 2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1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0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,1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,8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,3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8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5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6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214282" y="2643182"/>
            <a:ext cx="8715436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19-2023 годах</a:t>
            </a:r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4340" name="Rectangle 2"/>
          <p:cNvSpPr>
            <a:spLocks noChangeArrowheads="1"/>
          </p:cNvSpPr>
          <p:nvPr/>
        </p:nvSpPr>
        <p:spPr bwMode="auto">
          <a:xfrm>
            <a:off x="428625" y="1000108"/>
            <a:ext cx="8429625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>
                <a:solidFill>
                  <a:srgbClr val="FF0000"/>
                </a:solidFill>
              </a:rPr>
              <a:t> </a:t>
            </a:r>
            <a:r>
              <a:rPr lang="ru-RU" sz="1400" dirty="0" smtClean="0"/>
              <a:t>У</a:t>
            </a:r>
            <a:r>
              <a:rPr lang="ru-RU" sz="1600" dirty="0" smtClean="0"/>
              <a:t>меньшение  объема ассигнований на физическую культуру и спорт в 2021 году связано с запланированной и несостоявшейся в 2020 году реконструкцией стадиона «Спартак» в г. Железноводске.</a:t>
            </a: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428596" y="2268538"/>
          <a:ext cx="8466138" cy="4589462"/>
        </p:xfrm>
        <a:graphic>
          <a:graphicData uri="http://schemas.openxmlformats.org/presentationml/2006/ole">
            <p:oleObj spid="_x0000_s14338" name="Worksheet" r:id="rId4" imgW="8820090" imgH="4162515" progId="Excel.Sheet.8">
              <p:embed/>
            </p:oleObj>
          </a:graphicData>
        </a:graphic>
      </p:graphicFrame>
      <p:sp>
        <p:nvSpPr>
          <p:cNvPr id="14341" name="Text Box 7"/>
          <p:cNvSpPr txBox="1">
            <a:spLocks noChangeArrowheads="1"/>
          </p:cNvSpPr>
          <p:nvPr/>
        </p:nvSpPr>
        <p:spPr bwMode="auto">
          <a:xfrm>
            <a:off x="6572264" y="2857496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364" name="Text Box 7"/>
          <p:cNvSpPr txBox="1">
            <a:spLocks noChangeArrowheads="1"/>
          </p:cNvSpPr>
          <p:nvPr/>
        </p:nvSpPr>
        <p:spPr bwMode="auto">
          <a:xfrm>
            <a:off x="7429520" y="135729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747713" y="2074863"/>
          <a:ext cx="7797800" cy="2698750"/>
        </p:xfrm>
        <a:graphic>
          <a:graphicData uri="http://schemas.openxmlformats.org/presentationml/2006/ole">
            <p:oleObj spid="_x0000_s15363" name="Worksheet" r:id="rId4" imgW="7972433" imgH="276237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xmlns="" val="3383263371"/>
              </p:ext>
            </p:extLst>
          </p:nvPr>
        </p:nvGraphicFramePr>
        <p:xfrm>
          <a:off x="-357222" y="1928802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3286117" y="2500306"/>
          <a:ext cx="5214974" cy="1643074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732887"/>
                <a:gridCol w="904372"/>
                <a:gridCol w="861487"/>
                <a:gridCol w="884708"/>
                <a:gridCol w="831520"/>
              </a:tblGrid>
              <a:tr h="444463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0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3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198611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0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037,4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848,5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33" name="Группа 23"/>
          <p:cNvGrpSpPr/>
          <p:nvPr/>
        </p:nvGrpSpPr>
        <p:grpSpPr>
          <a:xfrm>
            <a:off x="2643174" y="2000239"/>
            <a:ext cx="5893223" cy="2143140"/>
            <a:chOff x="3429025" y="998225"/>
            <a:chExt cx="5607471" cy="1854710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3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808118" y="998225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36" name="Прямая соединительная линия 35"/>
            <p:cNvCxnSpPr/>
            <p:nvPr/>
          </p:nvCxnSpPr>
          <p:spPr>
            <a:xfrm rot="10800000" flipV="1">
              <a:off x="3429025" y="1616462"/>
              <a:ext cx="642942" cy="12364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19"/>
          <p:cNvGrpSpPr/>
          <p:nvPr/>
        </p:nvGrpSpPr>
        <p:grpSpPr>
          <a:xfrm>
            <a:off x="2000232" y="4357694"/>
            <a:ext cx="6544748" cy="2085952"/>
            <a:chOff x="2812513" y="2351160"/>
            <a:chExt cx="6223983" cy="2085952"/>
          </a:xfrm>
        </p:grpSpPr>
        <p:grpSp>
          <p:nvGrpSpPr>
            <p:cNvPr id="49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51" name="Прямоугольник 20"/>
              <p:cNvSpPr/>
              <p:nvPr>
                <p:custDataLst>
                  <p:tags r:id="rId1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52" name="Скругленный прямоугольник 51"/>
              <p:cNvSpPr/>
              <p:nvPr>
                <p:custDataLst>
                  <p:tags r:id="rId2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53" name="Диаграмма 52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</p:grpSp>
        <p:cxnSp>
          <p:nvCxnSpPr>
            <p:cNvPr id="50" name="Прямая соединительная линия 49"/>
            <p:cNvCxnSpPr/>
            <p:nvPr/>
          </p:nvCxnSpPr>
          <p:spPr>
            <a:xfrm rot="10800000">
              <a:off x="2812513" y="2351160"/>
              <a:ext cx="1543368" cy="129386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285720" y="357166"/>
            <a:ext cx="86409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Повышение оплаты труда работников  муниципальных учреждений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7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1678622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1780833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444801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2,2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1700808"/>
            <a:ext cx="230425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357950" y="1700808"/>
            <a:ext cx="2534530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и Комсомольской поляны</a:t>
            </a:r>
            <a:endParaRPr lang="ru-RU" sz="15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571744"/>
            <a:ext cx="1683378" cy="25738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7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9" y="3501008"/>
            <a:ext cx="2016224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54441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</a:t>
            </a:r>
            <a:endParaRPr lang="ru-RU" sz="15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29309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3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524921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673710" y="430642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,3</a:t>
            </a:r>
            <a:endParaRPr lang="ru-RU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491880" y="3808554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3275856" y="3861048"/>
            <a:ext cx="259228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 по благоустройству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</a:t>
            </a:r>
            <a:endParaRPr lang="ru-RU" sz="15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697853" y="458112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283450"/>
            <a:ext cx="189763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152,8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flipH="1">
            <a:off x="4499992" y="3429000"/>
            <a:ext cx="12475" cy="4515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483888" y="2264069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411760" y="3212977"/>
            <a:ext cx="1152128" cy="86409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364088" y="2280644"/>
            <a:ext cx="1152128" cy="6823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 flipV="1">
            <a:off x="5400208" y="3212976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5445224"/>
            <a:ext cx="9144001" cy="1556792"/>
          </a:xfrm>
          <a:prstGeom prst="rect">
            <a:avLst/>
          </a:prstGeom>
          <a:noFill/>
        </p:spPr>
      </p:pic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358082" y="928670"/>
            <a:ext cx="131803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3" name="Скругленный прямоугольник 32"/>
          <p:cNvSpPr/>
          <p:nvPr>
            <p:custDataLst>
              <p:tags r:id="rId7"/>
            </p:custDataLst>
          </p:nvPr>
        </p:nvSpPr>
        <p:spPr>
          <a:xfrm>
            <a:off x="3491880" y="1124744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>
            <p:custDataLst>
              <p:tags r:id="rId8"/>
            </p:custDataLst>
          </p:nvPr>
        </p:nvSpPr>
        <p:spPr>
          <a:xfrm>
            <a:off x="1691680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>
            <p:custDataLst>
              <p:tags r:id="rId9"/>
            </p:custDataLst>
          </p:nvPr>
        </p:nvSpPr>
        <p:spPr>
          <a:xfrm>
            <a:off x="5436096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>
            <p:custDataLst>
              <p:tags r:id="rId10"/>
            </p:custDataLst>
          </p:nvPr>
        </p:nvSpPr>
        <p:spPr>
          <a:xfrm>
            <a:off x="3707904" y="170080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8,2</a:t>
            </a:r>
            <a:endParaRPr lang="ru-RU" b="1" dirty="0"/>
          </a:p>
        </p:txBody>
      </p:sp>
      <p:sp>
        <p:nvSpPr>
          <p:cNvPr id="37" name="Скругленный прямоугольник 36"/>
          <p:cNvSpPr/>
          <p:nvPr>
            <p:custDataLst>
              <p:tags r:id="rId11"/>
            </p:custDataLst>
          </p:nvPr>
        </p:nvSpPr>
        <p:spPr>
          <a:xfrm>
            <a:off x="1835696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4,4</a:t>
            </a:r>
            <a:endParaRPr lang="ru-RU" b="1" dirty="0"/>
          </a:p>
        </p:txBody>
      </p:sp>
      <p:sp>
        <p:nvSpPr>
          <p:cNvPr id="38" name="Скругленный прямоугольник 37"/>
          <p:cNvSpPr/>
          <p:nvPr>
            <p:custDataLst>
              <p:tags r:id="rId12"/>
            </p:custDataLst>
          </p:nvPr>
        </p:nvSpPr>
        <p:spPr>
          <a:xfrm>
            <a:off x="5508104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39" name="Прямоугольник 38"/>
          <p:cNvSpPr/>
          <p:nvPr>
            <p:custDataLst>
              <p:tags r:id="rId13"/>
            </p:custDataLst>
          </p:nvPr>
        </p:nvSpPr>
        <p:spPr>
          <a:xfrm>
            <a:off x="3347864" y="1124743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40" name="Прямоугольник 39"/>
          <p:cNvSpPr/>
          <p:nvPr>
            <p:custDataLst>
              <p:tags r:id="rId14"/>
            </p:custDataLst>
          </p:nvPr>
        </p:nvSpPr>
        <p:spPr>
          <a:xfrm>
            <a:off x="1619672" y="5157193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Школьного сквера</a:t>
            </a:r>
            <a:endParaRPr lang="ru-RU" sz="1500" b="1" dirty="0"/>
          </a:p>
        </p:txBody>
      </p:sp>
      <p:sp>
        <p:nvSpPr>
          <p:cNvPr id="41" name="Прямоугольник 40"/>
          <p:cNvSpPr/>
          <p:nvPr>
            <p:custDataLst>
              <p:tags r:id="rId15"/>
            </p:custDataLst>
          </p:nvPr>
        </p:nvSpPr>
        <p:spPr>
          <a:xfrm>
            <a:off x="5364088" y="5128592"/>
            <a:ext cx="199399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</a:t>
            </a:r>
            <a:endParaRPr lang="ru-RU" sz="1500" b="1" dirty="0"/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3059832" y="3284984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 flipV="1">
            <a:off x="5220072" y="3356992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latin typeface="Arial" charset="0"/>
              </a:rPr>
              <a:t>Благоустройство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516216" y="3573016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города</a:t>
            </a:r>
            <a:endParaRPr lang="ru-RU" sz="1500" b="1" dirty="0"/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ражданин в бюджетном процессе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1714501" y="785813"/>
            <a:ext cx="642922" cy="357171"/>
          </a:xfrm>
          <a:prstGeom prst="downArrow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6286512" y="785813"/>
            <a:ext cx="578630" cy="396857"/>
          </a:xfrm>
          <a:prstGeom prst="downArrow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" name="Выноска со стрелкой вниз 16"/>
          <p:cNvSpPr/>
          <p:nvPr/>
        </p:nvSpPr>
        <p:spPr>
          <a:xfrm>
            <a:off x="428596" y="1142984"/>
            <a:ext cx="3143244" cy="1000118"/>
          </a:xfrm>
          <a:prstGeom prst="downArrowCallou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Налогоплательщик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42938" y="2143116"/>
            <a:ext cx="2714625" cy="857250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Участвует в </a:t>
            </a:r>
            <a:r>
              <a:rPr lang="ru-RU" sz="1800" b="1" dirty="0"/>
              <a:t>ДОХОДНОЙ </a:t>
            </a:r>
            <a:r>
              <a:rPr lang="ru-RU" sz="1800" dirty="0"/>
              <a:t>части бюджет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786188" y="2214554"/>
            <a:ext cx="5143500" cy="785818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Получает </a:t>
            </a:r>
            <a:r>
              <a:rPr lang="ru-RU" sz="1800" dirty="0" smtClean="0"/>
              <a:t>социальные гарантии </a:t>
            </a:r>
            <a:r>
              <a:rPr lang="ru-RU" sz="1800" dirty="0"/>
              <a:t>– </a:t>
            </a:r>
            <a:r>
              <a:rPr lang="ru-RU" sz="1800" b="1" dirty="0">
                <a:solidFill>
                  <a:schemeClr val="tx1"/>
                </a:solidFill>
              </a:rPr>
              <a:t>РАСХОДНАЯ</a:t>
            </a:r>
            <a:r>
              <a:rPr lang="ru-RU" sz="1800" dirty="0">
                <a:solidFill>
                  <a:schemeClr val="tx1"/>
                </a:solidFill>
              </a:rPr>
              <a:t> часть бюджета</a:t>
            </a:r>
            <a:endParaRPr lang="ru-RU" sz="1800" b="1" dirty="0"/>
          </a:p>
        </p:txBody>
      </p:sp>
      <p:sp>
        <p:nvSpPr>
          <p:cNvPr id="18" name="Выноска со стрелкой вниз 17"/>
          <p:cNvSpPr/>
          <p:nvPr/>
        </p:nvSpPr>
        <p:spPr>
          <a:xfrm>
            <a:off x="4572000" y="1214422"/>
            <a:ext cx="4071966" cy="1000118"/>
          </a:xfrm>
          <a:prstGeom prst="downArrowCallou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Получатель социальных гарантий</a:t>
            </a:r>
          </a:p>
        </p:txBody>
      </p:sp>
      <p:pic>
        <p:nvPicPr>
          <p:cNvPr id="107522" name="Picture 2" descr="Как узнать транспортный налог через портал Госуслуг, плюсы и минусы оплаты налога на машину онлай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3" y="3500439"/>
            <a:ext cx="1571635" cy="973647"/>
          </a:xfrm>
          <a:prstGeom prst="rect">
            <a:avLst/>
          </a:prstGeom>
          <a:noFill/>
        </p:spPr>
      </p:pic>
      <p:pic>
        <p:nvPicPr>
          <p:cNvPr id="2" name="Picture 2" descr="строительство дачных домов и коттеджей — СК Домино — Санкт-Петербург, фото №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3" y="4572008"/>
            <a:ext cx="1571635" cy="1003492"/>
          </a:xfrm>
          <a:prstGeom prst="rect">
            <a:avLst/>
          </a:prstGeom>
          <a:noFill/>
        </p:spPr>
      </p:pic>
      <p:pic>
        <p:nvPicPr>
          <p:cNvPr id="3" name="Picture 2" descr="https://sevastopol.su/sites/default/files/styles/node/public/2017-11-11/2_1.jpg?itok=mXLHwr3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5643578"/>
            <a:ext cx="1571636" cy="1147294"/>
          </a:xfrm>
          <a:prstGeom prst="rect">
            <a:avLst/>
          </a:prstGeom>
          <a:noFill/>
        </p:spPr>
      </p:pic>
      <p:sp>
        <p:nvSpPr>
          <p:cNvPr id="20" name="AutoShape 2"/>
          <p:cNvSpPr>
            <a:spLocks noChangeArrowheads="1"/>
          </p:cNvSpPr>
          <p:nvPr/>
        </p:nvSpPr>
        <p:spPr bwMode="auto">
          <a:xfrm>
            <a:off x="1643042" y="364331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</a:t>
            </a:r>
            <a:endParaRPr lang="ru-RU" sz="1600" b="1" dirty="0" smtClean="0"/>
          </a:p>
          <a:p>
            <a:pPr algn="ctr">
              <a:defRPr/>
            </a:pPr>
            <a:r>
              <a:rPr lang="ru-RU" sz="1600" b="1" dirty="0" smtClean="0"/>
              <a:t>на </a:t>
            </a:r>
            <a:r>
              <a:rPr lang="ru-RU" sz="1600" b="1" dirty="0" smtClean="0"/>
              <a:t>доходы физических лиц</a:t>
            </a:r>
            <a:endParaRPr lang="ru-RU" sz="1600" b="1" dirty="0"/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1571604" y="4714884"/>
            <a:ext cx="1785950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на </a:t>
            </a:r>
            <a:r>
              <a:rPr lang="ru-RU" sz="1600" b="1" dirty="0" smtClean="0"/>
              <a:t>имущество физических </a:t>
            </a:r>
          </a:p>
          <a:p>
            <a:pPr algn="ctr">
              <a:defRPr/>
            </a:pPr>
            <a:r>
              <a:rPr lang="ru-RU" sz="1600" b="1" dirty="0" smtClean="0"/>
              <a:t>лиц</a:t>
            </a:r>
            <a:endParaRPr lang="ru-RU" sz="1600" b="1" dirty="0"/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1571604" y="600076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емельный налог</a:t>
            </a:r>
            <a:endParaRPr lang="ru-RU" sz="1600" b="1" dirty="0"/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5429256" y="300037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образование</a:t>
            </a:r>
            <a:endParaRPr lang="ru-RU" sz="1600" b="1" dirty="0"/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5429256" y="350043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дравоохранение</a:t>
            </a:r>
            <a:endParaRPr lang="ru-RU" sz="1600" b="1" dirty="0"/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5429256" y="414338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услуги ЖКХ</a:t>
            </a:r>
            <a:endParaRPr lang="ru-RU" sz="1600" b="1" dirty="0"/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5429256" y="4643446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культура</a:t>
            </a:r>
            <a:endParaRPr lang="ru-RU" sz="1600" b="1" dirty="0"/>
          </a:p>
        </p:txBody>
      </p:sp>
      <p:sp>
        <p:nvSpPr>
          <p:cNvPr id="28" name="AutoShape 2"/>
          <p:cNvSpPr>
            <a:spLocks noChangeArrowheads="1"/>
          </p:cNvSpPr>
          <p:nvPr/>
        </p:nvSpPr>
        <p:spPr bwMode="auto">
          <a:xfrm>
            <a:off x="5500694" y="521495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физкультура</a:t>
            </a:r>
            <a:endParaRPr lang="ru-RU" sz="1600" b="1" dirty="0"/>
          </a:p>
        </p:txBody>
      </p:sp>
      <p:sp>
        <p:nvSpPr>
          <p:cNvPr id="29" name="AutoShape 2"/>
          <p:cNvSpPr>
            <a:spLocks noChangeArrowheads="1"/>
          </p:cNvSpPr>
          <p:nvPr/>
        </p:nvSpPr>
        <p:spPr bwMode="auto">
          <a:xfrm>
            <a:off x="5429256" y="564357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порт</a:t>
            </a:r>
            <a:endParaRPr lang="ru-RU" sz="1600" b="1" dirty="0"/>
          </a:p>
        </p:txBody>
      </p:sp>
      <p:sp>
        <p:nvSpPr>
          <p:cNvPr id="30" name="AutoShape 2"/>
          <p:cNvSpPr>
            <a:spLocks noChangeArrowheads="1"/>
          </p:cNvSpPr>
          <p:nvPr/>
        </p:nvSpPr>
        <p:spPr bwMode="auto">
          <a:xfrm>
            <a:off x="5500694" y="621508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оциальные льготы</a:t>
            </a:r>
            <a:endParaRPr lang="ru-RU" sz="1600" b="1" dirty="0"/>
          </a:p>
        </p:txBody>
      </p:sp>
      <p:pic>
        <p:nvPicPr>
          <p:cNvPr id="107524" name="Picture 4" descr="https://img.kanal-o.ru/img/2017-11-20/fmt_81_24_shutterstock_46277366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28993" y="3049486"/>
            <a:ext cx="2071702" cy="1165332"/>
          </a:xfrm>
          <a:prstGeom prst="rect">
            <a:avLst/>
          </a:prstGeom>
          <a:noFill/>
        </p:spPr>
      </p:pic>
      <p:pic>
        <p:nvPicPr>
          <p:cNvPr id="4" name="Picture 2" descr="В 2019 году расходы на здравоохранение из бюджета Петербурга увеличатся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66628" y="3093922"/>
            <a:ext cx="1763090" cy="1049458"/>
          </a:xfrm>
          <a:prstGeom prst="rect">
            <a:avLst/>
          </a:prstGeom>
          <a:noFill/>
        </p:spPr>
      </p:pic>
      <p:sp>
        <p:nvSpPr>
          <p:cNvPr id="5" name="AutoShape 2" descr="Правительство России одобрило двухэтапную индексацию тарифов ЖКХ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6" name="Picture 4" descr="Правительство России одобрило двухэтапную индексацию тарифов ЖКХ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24552" y="4329143"/>
            <a:ext cx="1947524" cy="1171559"/>
          </a:xfrm>
          <a:prstGeom prst="rect">
            <a:avLst/>
          </a:prstGeom>
          <a:noFill/>
        </p:spPr>
      </p:pic>
      <p:pic>
        <p:nvPicPr>
          <p:cNvPr id="8" name="Picture 2" descr="День работника культуры России - 25 марта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88550" y="4214818"/>
            <a:ext cx="1812606" cy="1214446"/>
          </a:xfrm>
          <a:prstGeom prst="rect">
            <a:avLst/>
          </a:prstGeom>
          <a:noFill/>
        </p:spPr>
      </p:pic>
      <p:pic>
        <p:nvPicPr>
          <p:cNvPr id="11" name="Picture 2" descr="http://sovch.chuvashia.com/wp-content/uploads/2018/01/6-8-1170x78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16240" y="5527184"/>
            <a:ext cx="1784916" cy="1187964"/>
          </a:xfrm>
          <a:prstGeom prst="rect">
            <a:avLst/>
          </a:prstGeom>
          <a:noFill/>
        </p:spPr>
      </p:pic>
      <p:pic>
        <p:nvPicPr>
          <p:cNvPr id="12" name="Picture 2" descr="https://avatars.mds.yandex.net/get-zen_doc/168601/pub_5b2b6c8245c2c800a9602c1a_5b2b6caee5a60f00a8002e9d/scale_12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71868" y="5563774"/>
            <a:ext cx="1857388" cy="11593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1142976" y="134076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785786" y="184482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>
            <p:custDataLst>
              <p:tags r:id="rId3"/>
            </p:custDataLst>
          </p:nvPr>
        </p:nvCxnSpPr>
        <p:spPr>
          <a:xfrm>
            <a:off x="1907704" y="227687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1142976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10" name="Скругленный прямоугольник 9"/>
          <p:cNvSpPr/>
          <p:nvPr>
            <p:custDataLst>
              <p:tags r:id="rId5"/>
            </p:custDataLst>
          </p:nvPr>
        </p:nvSpPr>
        <p:spPr>
          <a:xfrm>
            <a:off x="467545" y="3861048"/>
            <a:ext cx="96118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1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071670" y="3861048"/>
            <a:ext cx="1071571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6775178" y="1346783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13" name="Скругленный прямоугольник 12"/>
          <p:cNvSpPr/>
          <p:nvPr>
            <p:custDataLst>
              <p:tags r:id="rId8"/>
            </p:custDataLst>
          </p:nvPr>
        </p:nvSpPr>
        <p:spPr>
          <a:xfrm>
            <a:off x="6340850" y="1850839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многодетных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>
            <p:custDataLst>
              <p:tags r:id="rId9"/>
            </p:custDataLst>
          </p:nvPr>
        </p:nvCxnSpPr>
        <p:spPr>
          <a:xfrm>
            <a:off x="7500958" y="227434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29190" y="5000636"/>
            <a:ext cx="1446175" cy="14389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9552" y="2996952"/>
            <a:ext cx="1524000" cy="806921"/>
          </a:xfrm>
          <a:prstGeom prst="rect">
            <a:avLst/>
          </a:prstGeom>
          <a:noFill/>
        </p:spPr>
      </p:pic>
      <p:pic>
        <p:nvPicPr>
          <p:cNvPr id="18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928794" y="2996952"/>
            <a:ext cx="1524000" cy="806921"/>
          </a:xfrm>
          <a:prstGeom prst="rect">
            <a:avLst/>
          </a:prstGeom>
          <a:noFill/>
        </p:spPr>
      </p:pic>
      <p:pic>
        <p:nvPicPr>
          <p:cNvPr id="1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7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lum/>
          </a:blip>
          <a:srcRect/>
          <a:stretch>
            <a:fillRect/>
          </a:stretch>
        </p:blipFill>
        <p:spPr bwMode="auto">
          <a:xfrm>
            <a:off x="7415808" y="5129808"/>
            <a:ext cx="1728192" cy="1728192"/>
          </a:xfrm>
          <a:prstGeom prst="rect">
            <a:avLst/>
          </a:prstGeom>
          <a:noFill/>
        </p:spPr>
      </p:pic>
      <p:grpSp>
        <p:nvGrpSpPr>
          <p:cNvPr id="2" name="Группа 46"/>
          <p:cNvGrpSpPr/>
          <p:nvPr>
            <p:custDataLst>
              <p:tags r:id="rId14"/>
            </p:custDataLst>
          </p:nvPr>
        </p:nvGrpSpPr>
        <p:grpSpPr>
          <a:xfrm>
            <a:off x="179512" y="5013176"/>
            <a:ext cx="2386176" cy="467436"/>
            <a:chOff x="537999" y="5954425"/>
            <a:chExt cx="2386176" cy="467436"/>
          </a:xfrm>
        </p:grpSpPr>
        <p:sp>
          <p:nvSpPr>
            <p:cNvPr id="22" name="Овал 21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" name="Группа 52"/>
          <p:cNvGrpSpPr/>
          <p:nvPr>
            <p:custDataLst>
              <p:tags r:id="rId15"/>
            </p:custDataLst>
          </p:nvPr>
        </p:nvGrpSpPr>
        <p:grpSpPr>
          <a:xfrm>
            <a:off x="2267744" y="5013176"/>
            <a:ext cx="2386176" cy="467436"/>
            <a:chOff x="537999" y="5954425"/>
            <a:chExt cx="2386176" cy="467436"/>
          </a:xfrm>
        </p:grpSpPr>
        <p:sp>
          <p:nvSpPr>
            <p:cNvPr id="25" name="Овал 24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/>
            <p:cNvSpPr txBox="1"/>
            <p:nvPr>
              <p:custDataLst>
                <p:tags r:id="rId30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8" name="Скругленный прямоугольник 27"/>
          <p:cNvSpPr/>
          <p:nvPr>
            <p:custDataLst>
              <p:tags r:id="rId16"/>
            </p:custDataLst>
          </p:nvPr>
        </p:nvSpPr>
        <p:spPr>
          <a:xfrm>
            <a:off x="6715140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17"/>
            </p:custDataLst>
          </p:nvPr>
        </p:nvSpPr>
        <p:spPr>
          <a:xfrm>
            <a:off x="6228184" y="3861048"/>
            <a:ext cx="987022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0,5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>
            <p:custDataLst>
              <p:tags r:id="rId18"/>
            </p:custDataLst>
          </p:nvPr>
        </p:nvSpPr>
        <p:spPr>
          <a:xfrm>
            <a:off x="7786710" y="3861048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4,2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048396" y="2924944"/>
            <a:ext cx="1524000" cy="806921"/>
          </a:xfrm>
          <a:prstGeom prst="rect">
            <a:avLst/>
          </a:prstGeom>
          <a:noFill/>
        </p:spPr>
      </p:pic>
      <p:pic>
        <p:nvPicPr>
          <p:cNvPr id="3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477156" y="2924944"/>
            <a:ext cx="1524000" cy="806921"/>
          </a:xfrm>
          <a:prstGeom prst="rect">
            <a:avLst/>
          </a:prstGeom>
          <a:noFill/>
        </p:spPr>
      </p:pic>
      <p:sp>
        <p:nvSpPr>
          <p:cNvPr id="39" name="Text Box 5"/>
          <p:cNvSpPr txBox="1">
            <a:spLocks noChangeArrowheads="1"/>
          </p:cNvSpPr>
          <p:nvPr/>
        </p:nvSpPr>
        <p:spPr bwMode="auto">
          <a:xfrm>
            <a:off x="759633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lvl="0" algn="ctr"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еспечение жильем молодых семей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1" name="Скругленный прямоугольник 40"/>
          <p:cNvSpPr/>
          <p:nvPr>
            <p:custDataLst>
              <p:tags r:id="rId21"/>
            </p:custDataLst>
          </p:nvPr>
        </p:nvSpPr>
        <p:spPr>
          <a:xfrm>
            <a:off x="3989096" y="135729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42" name="Скругленный прямоугольник 41"/>
          <p:cNvSpPr/>
          <p:nvPr>
            <p:custDataLst>
              <p:tags r:id="rId22"/>
            </p:custDataLst>
          </p:nvPr>
        </p:nvSpPr>
        <p:spPr>
          <a:xfrm>
            <a:off x="3554768" y="186135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>
            <p:custDataLst>
              <p:tags r:id="rId23"/>
            </p:custDataLst>
          </p:nvPr>
        </p:nvCxnSpPr>
        <p:spPr>
          <a:xfrm>
            <a:off x="4786314" y="2284856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24"/>
            </p:custDataLst>
          </p:nvPr>
        </p:nvSpPr>
        <p:spPr>
          <a:xfrm>
            <a:off x="3929058" y="2503411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48" name="Скругленный прямоугольник 47"/>
          <p:cNvSpPr/>
          <p:nvPr>
            <p:custDataLst>
              <p:tags r:id="rId25"/>
            </p:custDataLst>
          </p:nvPr>
        </p:nvSpPr>
        <p:spPr>
          <a:xfrm>
            <a:off x="3357554" y="3871563"/>
            <a:ext cx="1071570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Скругленный прямоугольник 48"/>
          <p:cNvSpPr/>
          <p:nvPr>
            <p:custDataLst>
              <p:tags r:id="rId26"/>
            </p:custDataLst>
          </p:nvPr>
        </p:nvSpPr>
        <p:spPr>
          <a:xfrm>
            <a:off x="4929190" y="3871563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62314" y="2935459"/>
            <a:ext cx="1524000" cy="806921"/>
          </a:xfrm>
          <a:prstGeom prst="rect">
            <a:avLst/>
          </a:prstGeom>
          <a:noFill/>
        </p:spPr>
      </p:pic>
      <p:pic>
        <p:nvPicPr>
          <p:cNvPr id="5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691074" y="2935459"/>
            <a:ext cx="1524000" cy="8069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524328" y="135729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Расходы на софинансирование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21 году 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4860032" y="3691382"/>
            <a:ext cx="135732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4857752" y="5491582"/>
            <a:ext cx="1370432" cy="77042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4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6444208" y="3691382"/>
            <a:ext cx="857256" cy="785818"/>
          </a:xfrm>
          <a:prstGeom prst="homePlat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6516216" y="5491582"/>
            <a:ext cx="857256" cy="714380"/>
          </a:xfrm>
          <a:prstGeom prst="homePlat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7500958" y="3571876"/>
            <a:ext cx="135735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7524328" y="5347566"/>
            <a:ext cx="128588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4" name="Пятиугольник 43"/>
          <p:cNvSpPr/>
          <p:nvPr/>
        </p:nvSpPr>
        <p:spPr>
          <a:xfrm>
            <a:off x="4643438" y="1603150"/>
            <a:ext cx="1785950" cy="118290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5" name="Пятиугольник 44"/>
          <p:cNvSpPr/>
          <p:nvPr/>
        </p:nvSpPr>
        <p:spPr>
          <a:xfrm>
            <a:off x="6444208" y="1819174"/>
            <a:ext cx="985312" cy="681132"/>
          </a:xfrm>
          <a:prstGeom prst="homePlate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100" b="1" dirty="0" smtClean="0">
                <a:solidFill>
                  <a:schemeClr val="tx1"/>
                </a:solidFill>
              </a:rPr>
              <a:t>местной доли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6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459134"/>
            <a:ext cx="4286280" cy="857256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323528" y="5059534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85720" y="3429000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323528" y="4000504"/>
            <a:ext cx="41764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b="1" dirty="0" smtClean="0">
                <a:solidFill>
                  <a:srgbClr val="333300"/>
                </a:solidFill>
                <a:latin typeface="Arial" charset="0"/>
              </a:rPr>
              <a:t>«Цифровая культур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0" name="Rectangle 19"/>
          <p:cNvSpPr>
            <a:spLocks noChangeArrowheads="1"/>
          </p:cNvSpPr>
          <p:nvPr/>
        </p:nvSpPr>
        <p:spPr bwMode="auto">
          <a:xfrm>
            <a:off x="755576" y="5419574"/>
            <a:ext cx="31683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7451750" y="1761416"/>
            <a:ext cx="1477968" cy="100013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Овал 4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57239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Софинансирование субсидий из регионального (краевого) бюджета в 2021 году </a:t>
            </a:r>
          </a:p>
        </p:txBody>
      </p:sp>
      <p:sp>
        <p:nvSpPr>
          <p:cNvPr id="9" name="Овал 8"/>
          <p:cNvSpPr/>
          <p:nvPr/>
        </p:nvSpPr>
        <p:spPr>
          <a:xfrm>
            <a:off x="8358214" y="3012468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285860"/>
          <a:ext cx="8715436" cy="4786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864"/>
                <a:gridCol w="1140422"/>
                <a:gridCol w="1384150"/>
              </a:tblGrid>
              <a:tr h="79566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сего сумма субсидии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3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004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офилактика терроризм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1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1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430425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иобретение жилья молодым семьям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,7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896352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6,2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3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8424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Комплектование книжных фондов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3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3854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6,2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41366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современной городской среды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4,4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1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 школы в п. Капельница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,3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1524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425,0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8,6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pSp>
        <p:nvGrpSpPr>
          <p:cNvPr id="5" name="Группа 11"/>
          <p:cNvGrpSpPr/>
          <p:nvPr/>
        </p:nvGrpSpPr>
        <p:grpSpPr>
          <a:xfrm>
            <a:off x="6444208" y="1916832"/>
            <a:ext cx="2250000" cy="1428760"/>
            <a:chOff x="6749673" y="5713325"/>
            <a:chExt cx="2250000" cy="711436"/>
          </a:xfrm>
        </p:grpSpPr>
        <p:sp>
          <p:nvSpPr>
            <p:cNvPr id="6" name="AutoShape 32"/>
            <p:cNvSpPr>
              <a:spLocks noChangeArrowheads="1"/>
            </p:cNvSpPr>
            <p:nvPr/>
          </p:nvSpPr>
          <p:spPr bwMode="auto">
            <a:xfrm>
              <a:off x="6749673" y="5713325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7495017" y="6101401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11" name="Группа 3"/>
          <p:cNvGrpSpPr/>
          <p:nvPr/>
        </p:nvGrpSpPr>
        <p:grpSpPr>
          <a:xfrm>
            <a:off x="251520" y="1772816"/>
            <a:ext cx="2232248" cy="1605431"/>
            <a:chOff x="6749680" y="1793534"/>
            <a:chExt cx="2250000" cy="727191"/>
          </a:xfrm>
        </p:grpSpPr>
        <p:sp>
          <p:nvSpPr>
            <p:cNvPr id="12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33,1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4283968" y="1052736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334,8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51520" y="177281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732240" y="1916832"/>
            <a:ext cx="2232248" cy="72008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404664"/>
            <a:ext cx="8640960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юджетные инвестиции в 2021 году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pic>
        <p:nvPicPr>
          <p:cNvPr id="17" name="Picture 2" descr="http://www.planetakartinok.ru/_ph/121/2/795574096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4077072"/>
            <a:ext cx="224062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7" descr="https://wmpics.pics/di-MQX0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79912" y="4509120"/>
            <a:ext cx="5184576" cy="2221961"/>
          </a:xfrm>
          <a:prstGeom prst="rect">
            <a:avLst/>
          </a:prstGeom>
          <a:noFill/>
        </p:spPr>
      </p:pic>
      <p:pic>
        <p:nvPicPr>
          <p:cNvPr id="24" name="Picture 9" descr="https://otvet.imgsmail.ru/download/u_89091af776a2af79086fe592fa56cf31_800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23728" y="1340768"/>
            <a:ext cx="3493886" cy="3200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429520" y="128586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571472" y="142852"/>
            <a:ext cx="814393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ъем дорожного фонда города-курорта Железноводска  на 2021 год и плановый период 2022 и 20</a:t>
            </a:r>
            <a:r>
              <a:rPr lang="en-US" sz="2400" b="1" dirty="0" smtClean="0">
                <a:solidFill>
                  <a:schemeClr val="bg1"/>
                </a:solidFill>
                <a:cs typeface="Times New Roman" pitchFamily="18" charset="0"/>
              </a:rPr>
              <a:t>2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3 годов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0" y="571480"/>
          <a:ext cx="9144000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5085184"/>
            <a:ext cx="8352928" cy="148478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cxnSp>
        <p:nvCxnSpPr>
          <p:cNvPr id="61" name="Прямая соединительная линия 60"/>
          <p:cNvCxnSpPr>
            <a:endCxn id="41" idx="0"/>
          </p:cNvCxnSpPr>
          <p:nvPr/>
        </p:nvCxnSpPr>
        <p:spPr>
          <a:xfrm rot="16200000" flipH="1">
            <a:off x="4266964" y="3019657"/>
            <a:ext cx="1785948" cy="1033001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endCxn id="20" idx="0"/>
          </p:cNvCxnSpPr>
          <p:nvPr/>
        </p:nvCxnSpPr>
        <p:spPr>
          <a:xfrm rot="10800000" flipV="1">
            <a:off x="1186390" y="2643182"/>
            <a:ext cx="2671230" cy="178595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755577" y="1052736"/>
            <a:ext cx="1872208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755576" y="1124744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899592" y="1700808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5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3143240" y="1916832"/>
            <a:ext cx="2868920" cy="93610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3286116" y="1857364"/>
            <a:ext cx="24482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бюджета города</a:t>
            </a:r>
            <a:endParaRPr lang="ru-RU" sz="14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3635896" y="2428868"/>
            <a:ext cx="1656184" cy="28005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2564904"/>
            <a:ext cx="2016224" cy="113261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2564904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жная разметка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с применением термопластика</a:t>
            </a:r>
            <a:endParaRPr lang="ru-RU" sz="14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95536" y="3284984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14282" y="4429132"/>
            <a:ext cx="2160240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214282" y="4429132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58298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3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2" name="Группа 8"/>
          <p:cNvGrpSpPr/>
          <p:nvPr/>
        </p:nvGrpSpPr>
        <p:grpSpPr>
          <a:xfrm>
            <a:off x="3563888" y="1052736"/>
            <a:ext cx="1897635" cy="648072"/>
            <a:chOff x="3280593" y="1837348"/>
            <a:chExt cx="2577739" cy="1392963"/>
          </a:xfrm>
          <a:solidFill>
            <a:schemeClr val="accent2">
              <a:lumMod val="75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9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20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36,2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2771800" y="1340768"/>
            <a:ext cx="720080" cy="7200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8" idx="1"/>
          </p:cNvCxnSpPr>
          <p:nvPr/>
        </p:nvCxnSpPr>
        <p:spPr>
          <a:xfrm flipV="1">
            <a:off x="2350012" y="2384884"/>
            <a:ext cx="793228" cy="23597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4499992" y="1772816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endCxn id="8" idx="3"/>
          </p:cNvCxnSpPr>
          <p:nvPr/>
        </p:nvCxnSpPr>
        <p:spPr>
          <a:xfrm flipH="1" flipV="1">
            <a:off x="6012160" y="2384884"/>
            <a:ext cx="1090380" cy="16396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7"/>
            </p:custDataLst>
          </p:nvPr>
        </p:nvSpPr>
        <p:spPr>
          <a:xfrm>
            <a:off x="4571430" y="4429132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>
            <p:custDataLst>
              <p:tags r:id="rId8"/>
            </p:custDataLst>
          </p:nvPr>
        </p:nvSpPr>
        <p:spPr>
          <a:xfrm>
            <a:off x="4787454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9"/>
            </p:custDataLst>
          </p:nvPr>
        </p:nvSpPr>
        <p:spPr>
          <a:xfrm>
            <a:off x="4643438" y="4429132"/>
            <a:ext cx="206600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благоустройство подземного перехода</a:t>
            </a:r>
            <a:endParaRPr lang="ru-RU" sz="1400" b="1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65" name="Скругленный прямоугольник 64"/>
          <p:cNvSpPr/>
          <p:nvPr>
            <p:custDataLst>
              <p:tags r:id="rId10"/>
            </p:custDataLst>
          </p:nvPr>
        </p:nvSpPr>
        <p:spPr>
          <a:xfrm>
            <a:off x="2428860" y="4429132"/>
            <a:ext cx="2111187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/>
          <p:nvPr>
            <p:custDataLst>
              <p:tags r:id="rId11"/>
            </p:custDataLst>
          </p:nvPr>
        </p:nvSpPr>
        <p:spPr>
          <a:xfrm>
            <a:off x="6929454" y="2714620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>
            <p:custDataLst>
              <p:tags r:id="rId12"/>
            </p:custDataLst>
          </p:nvPr>
        </p:nvSpPr>
        <p:spPr>
          <a:xfrm>
            <a:off x="2572876" y="4501140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пешеходные ограждения</a:t>
            </a:r>
            <a:endParaRPr lang="ru-RU" sz="1400" b="1" dirty="0"/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6786578" y="2786058"/>
            <a:ext cx="219573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безопасность дорожного движения</a:t>
            </a:r>
            <a:endParaRPr lang="ru-RU" sz="1400" b="1" dirty="0"/>
          </a:p>
        </p:txBody>
      </p:sp>
      <p:sp>
        <p:nvSpPr>
          <p:cNvPr id="86" name="Скругленный прямоугольник 85"/>
          <p:cNvSpPr/>
          <p:nvPr>
            <p:custDataLst>
              <p:tags r:id="rId14"/>
            </p:custDataLst>
          </p:nvPr>
        </p:nvSpPr>
        <p:spPr>
          <a:xfrm>
            <a:off x="7143768" y="3357562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7" name="Скругленный прямоугольник 86"/>
          <p:cNvSpPr/>
          <p:nvPr>
            <p:custDataLst>
              <p:tags r:id="rId15"/>
            </p:custDataLst>
          </p:nvPr>
        </p:nvSpPr>
        <p:spPr>
          <a:xfrm>
            <a:off x="2644884" y="507720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58" name="Прямая соединительная линия 57"/>
          <p:cNvCxnSpPr>
            <a:endCxn id="65" idx="0"/>
          </p:cNvCxnSpPr>
          <p:nvPr/>
        </p:nvCxnSpPr>
        <p:spPr>
          <a:xfrm rot="5400000">
            <a:off x="2920940" y="3206698"/>
            <a:ext cx="1785948" cy="65892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Скругленный прямоугольник 35"/>
          <p:cNvSpPr/>
          <p:nvPr>
            <p:custDataLst>
              <p:tags r:id="rId16"/>
            </p:custDataLst>
          </p:nvPr>
        </p:nvSpPr>
        <p:spPr>
          <a:xfrm>
            <a:off x="6643702" y="4429132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>
            <p:custDataLst>
              <p:tags r:id="rId17"/>
            </p:custDataLst>
          </p:nvPr>
        </p:nvSpPr>
        <p:spPr>
          <a:xfrm>
            <a:off x="6572264" y="4572008"/>
            <a:ext cx="2195736" cy="30630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Прочие мероприятия</a:t>
            </a:r>
            <a:endParaRPr lang="ru-RU" sz="1400" b="1" dirty="0"/>
          </a:p>
        </p:txBody>
      </p:sp>
      <p:sp>
        <p:nvSpPr>
          <p:cNvPr id="39" name="Скругленный прямоугольник 38"/>
          <p:cNvSpPr/>
          <p:nvPr>
            <p:custDataLst>
              <p:tags r:id="rId18"/>
            </p:custDataLst>
          </p:nvPr>
        </p:nvSpPr>
        <p:spPr>
          <a:xfrm>
            <a:off x="6786578" y="507207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6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2" name="Прямая соединительная линия 41"/>
          <p:cNvCxnSpPr>
            <a:endCxn id="36" idx="0"/>
          </p:cNvCxnSpPr>
          <p:nvPr/>
        </p:nvCxnSpPr>
        <p:spPr>
          <a:xfrm>
            <a:off x="5643572" y="2643184"/>
            <a:ext cx="2001972" cy="178594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7" name="Диаграмма 6"/>
          <p:cNvGraphicFramePr/>
          <p:nvPr/>
        </p:nvGraphicFramePr>
        <p:xfrm>
          <a:off x="285720" y="134076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85720" y="135729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251520" y="42119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44" y="1643050"/>
          <a:ext cx="8786874" cy="497568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786214"/>
                <a:gridCol w="785818"/>
                <a:gridCol w="785818"/>
                <a:gridCol w="785818"/>
                <a:gridCol w="571504"/>
                <a:gridCol w="857256"/>
                <a:gridCol w="714380"/>
                <a:gridCol w="500066"/>
              </a:tblGrid>
              <a:tr h="2337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Наименование муниципальной программы 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1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2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3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4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образования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11,6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08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,5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9,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72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36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62,9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658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циальная поддержка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6,3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1,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,8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8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4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,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0,8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Управление имуществом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1,2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,5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6,0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3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6,7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5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7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4,4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6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5,3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6,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6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2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Культура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9,8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5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,4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1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5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9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экономик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8,2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1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2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1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0,6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3,1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27,4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2,6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3,4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0,3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273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8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21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6,</a:t>
                      </a:r>
                      <a:r>
                        <a:rPr lang="ru-RU" sz="1100" u="none" strike="noStrike" baseline="0" dirty="0" smtClean="0"/>
                        <a:t>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6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21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8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5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0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4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4,9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2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0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831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5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4,6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</a:t>
                      </a:r>
                      <a:r>
                        <a:rPr lang="ru-RU" sz="1100" u="none" strike="noStrike" dirty="0" smtClean="0"/>
                        <a:t>1,9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8,4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3,0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,6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9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117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Молодежь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9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8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5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"Формирование современной городской среды"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2,6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1,2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1,</a:t>
                      </a:r>
                      <a:r>
                        <a:rPr lang="ru-RU" sz="1100" u="none" strike="noStrike" baseline="0" dirty="0" smtClean="0"/>
                        <a:t>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5,3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51,2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</a:t>
                      </a:r>
                      <a:r>
                        <a:rPr lang="ru-RU" sz="1100" u="none" strike="noStrike" dirty="0" smtClean="0"/>
                        <a:t>630,6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520,7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09,8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3,2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</a:t>
                      </a:r>
                      <a:r>
                        <a:rPr lang="ru-RU" sz="1100" u="none" strike="noStrike" dirty="0" smtClean="0"/>
                        <a:t>133,47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87,3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4,5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921625" y="1304913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планируемых расходах на реализацию муниципальных программ на 2021 год и на плановый период 2022-2023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9395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285860"/>
          <a:ext cx="8643938" cy="539526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507683"/>
                <a:gridCol w="688460"/>
                <a:gridCol w="611965"/>
                <a:gridCol w="688460"/>
                <a:gridCol w="611965"/>
                <a:gridCol w="535405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шко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полните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-2428924" y="1571612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526198"/>
          <a:ext cx="8643997" cy="483658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286412"/>
                <a:gridCol w="928694"/>
                <a:gridCol w="571504"/>
                <a:gridCol w="571504"/>
                <a:gridCol w="642942"/>
                <a:gridCol w="642941"/>
              </a:tblGrid>
              <a:tr h="21917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6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827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реконструированных учреждений культуры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6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42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620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воспитывающихся в замещающих семьях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нуждающихся в определении в семью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428625" y="357188"/>
            <a:ext cx="838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900" b="1" cap="all" dirty="0">
              <a:solidFill>
                <a:srgbClr val="66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57158" y="1714487"/>
          <a:ext cx="8520142" cy="476156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20205"/>
                <a:gridCol w="964053"/>
                <a:gridCol w="1102472"/>
                <a:gridCol w="854946"/>
                <a:gridCol w="1104101"/>
                <a:gridCol w="936368"/>
                <a:gridCol w="937997"/>
              </a:tblGrid>
              <a:tr h="214315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2D050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</a:tr>
              <a:tr h="5137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4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5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0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3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97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9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46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91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71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01,00</a:t>
                      </a:r>
                    </a:p>
                  </a:txBody>
                  <a:tcPr marL="60158" marR="60158" marT="0" marB="0" anchor="ctr" horzOverflow="overflow"/>
                </a:tc>
              </a:tr>
              <a:tr h="869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,0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4,1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0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0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3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550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5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8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61,6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42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38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5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348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2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280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 925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907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 590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318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18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 19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6493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,8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,3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,9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571800" y="1500174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5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23529" y="1380150"/>
          <a:ext cx="8573131" cy="5179723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644172"/>
                <a:gridCol w="500066"/>
                <a:gridCol w="571504"/>
                <a:gridCol w="642942"/>
                <a:gridCol w="642942"/>
                <a:gridCol w="571505"/>
              </a:tblGrid>
              <a:tr h="1312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4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28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81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5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планами работ, утвержденными администрацией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875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59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286048" y="1785926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86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80" y="1431272"/>
          <a:ext cx="8643937" cy="525849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111169"/>
                <a:gridCol w="826820"/>
                <a:gridCol w="676487"/>
                <a:gridCol w="676487"/>
                <a:gridCol w="676487"/>
                <a:gridCol w="676487"/>
              </a:tblGrid>
              <a:tr h="16676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город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всероссийских и краев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инвалид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85852" y="142852"/>
            <a:ext cx="76438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5" name="Rectangle 2"/>
          <p:cNvSpPr>
            <a:spLocks noChangeArrowheads="1"/>
          </p:cNvSpPr>
          <p:nvPr/>
        </p:nvSpPr>
        <p:spPr bwMode="auto">
          <a:xfrm>
            <a:off x="-2214610" y="228599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030A0"/>
              </a:solidFill>
            </a:endParaRPr>
          </a:p>
        </p:txBody>
      </p:sp>
      <p:sp>
        <p:nvSpPr>
          <p:cNvPr id="747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79510" y="1434061"/>
          <a:ext cx="8678769" cy="4799519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761525"/>
                <a:gridCol w="583449"/>
                <a:gridCol w="583449"/>
                <a:gridCol w="583449"/>
                <a:gridCol w="583449"/>
                <a:gridCol w="583448"/>
              </a:tblGrid>
              <a:tr h="266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02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42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6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973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50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98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62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3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28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имеющих трех и более детей, получивших извещения о праве на получение социальной выпла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71530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928990" y="157161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680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158" y="1285860"/>
          <a:ext cx="8429682" cy="330917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372399"/>
                <a:gridCol w="783919"/>
                <a:gridCol w="627135"/>
                <a:gridCol w="548743"/>
                <a:gridCol w="548743"/>
                <a:gridCol w="548743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1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Тыс.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0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3,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пользователе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экземпляр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7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9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новых поступлений в библиотечный фон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9875" name="Rectangle 2"/>
          <p:cNvSpPr>
            <a:spLocks noChangeArrowheads="1"/>
          </p:cNvSpPr>
          <p:nvPr/>
        </p:nvSpPr>
        <p:spPr bwMode="auto">
          <a:xfrm>
            <a:off x="-2571800" y="2357430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660033"/>
              </a:solidFill>
            </a:endParaRPr>
          </a:p>
        </p:txBody>
      </p:sp>
      <p:sp>
        <p:nvSpPr>
          <p:cNvPr id="7987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23528" y="1204052"/>
          <a:ext cx="8534753" cy="559515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5320042"/>
                <a:gridCol w="714380"/>
                <a:gridCol w="714380"/>
                <a:gridCol w="642942"/>
                <a:gridCol w="571504"/>
                <a:gridCol w="571505"/>
              </a:tblGrid>
              <a:tr h="165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 </a:t>
                      </a:r>
                      <a:r>
                        <a:rPr kumimoji="0" lang="ru-RU" sz="10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-дущ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7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45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2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2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5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2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8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,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,5</a:t>
                      </a:r>
                      <a:endParaRPr kumimoji="0" lang="ru-RU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71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9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4,4</a:t>
                      </a:r>
                      <a:endParaRPr kumimoji="0" lang="ru-RU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185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2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3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3,0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69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2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1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7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7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8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8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8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1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928670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1923" name="Rectangle 2"/>
          <p:cNvSpPr>
            <a:spLocks noChangeArrowheads="1"/>
          </p:cNvSpPr>
          <p:nvPr/>
        </p:nvSpPr>
        <p:spPr bwMode="auto">
          <a:xfrm>
            <a:off x="-2786114" y="1428736"/>
            <a:ext cx="90011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8192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268225"/>
          <a:ext cx="8572500" cy="566644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591316"/>
                <a:gridCol w="521707"/>
                <a:gridCol w="670766"/>
                <a:gridCol w="596245"/>
                <a:gridCol w="596233"/>
                <a:gridCol w="596233"/>
              </a:tblGrid>
              <a:tr h="1602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020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35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43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134,0</a:t>
                      </a:r>
                      <a:endParaRPr lang="ru-RU" sz="1200" dirty="0" smtClean="0">
                        <a:latin typeface="+mn-lt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004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08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770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7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509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 ,8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 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2478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щая площадь улиц и проездов, находящихся на территории муниципального образовани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940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Сокращение потребления электрической энергии на 1 кв. метр освещаемой территории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Вт/ч/кв.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0,0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68,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доли образовательных организаций со стопроцентной заменой оконных блоков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532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75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6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т/ч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1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38"/>
            <a:ext cx="7643866" cy="7857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4996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643050"/>
          <a:ext cx="8418512" cy="516328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33"/>
                <a:gridCol w="488956"/>
                <a:gridCol w="706423"/>
                <a:gridCol w="558800"/>
                <a:gridCol w="560388"/>
                <a:gridCol w="531812"/>
              </a:tblGrid>
              <a:tr h="1172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0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706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86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9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84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04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7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9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71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5163" name="Rectangle 2"/>
          <p:cNvSpPr>
            <a:spLocks noChangeArrowheads="1"/>
          </p:cNvSpPr>
          <p:nvPr/>
        </p:nvSpPr>
        <p:spPr bwMode="auto">
          <a:xfrm>
            <a:off x="142875" y="0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6699"/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000100" y="71438"/>
            <a:ext cx="7929618" cy="12144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3333FF"/>
              </a:solidFill>
            </a:endParaRPr>
          </a:p>
        </p:txBody>
      </p:sp>
      <p:sp>
        <p:nvSpPr>
          <p:cNvPr id="8704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282" y="1214422"/>
          <a:ext cx="8715439" cy="556668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143668"/>
                <a:gridCol w="714380"/>
                <a:gridCol w="428628"/>
                <a:gridCol w="428628"/>
                <a:gridCol w="428628"/>
                <a:gridCol w="571507"/>
              </a:tblGrid>
              <a:tr h="11555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2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1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62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56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7614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совершенных преступлений 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-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011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901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2" y="1214420"/>
          <a:ext cx="8715433" cy="5565507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6215105"/>
                <a:gridCol w="684252"/>
                <a:gridCol w="454019"/>
                <a:gridCol w="454019"/>
                <a:gridCol w="454019"/>
                <a:gridCol w="454019"/>
              </a:tblGrid>
              <a:tr h="147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-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7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1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роприят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9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1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1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щенных в эфир теле- радиопрограм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928662" y="142852"/>
            <a:ext cx="7858180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857233"/>
            <a:ext cx="849630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523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7575"/>
              </a:solidFill>
            </a:endParaRPr>
          </a:p>
        </p:txBody>
      </p:sp>
      <p:sp>
        <p:nvSpPr>
          <p:cNvPr id="952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3" y="1381135"/>
          <a:ext cx="8715435" cy="506369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643601"/>
                <a:gridCol w="857256"/>
                <a:gridCol w="571504"/>
                <a:gridCol w="500066"/>
                <a:gridCol w="571504"/>
                <a:gridCol w="571504"/>
              </a:tblGrid>
              <a:tr h="26191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0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1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филактиче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92867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1214414" y="1857364"/>
            <a:ext cx="7162800" cy="78581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центрация ресурсов на достижение целей, показателей и результатов муниципальных программ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14414" y="3929066"/>
            <a:ext cx="7162800" cy="114300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открытости и 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зрачности бюджетного процесса, доступности информации о муниципальных финансах города,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ширение практики общественного участия при обсуждении и принятии бюджетных 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ений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928662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14414" y="3071810"/>
            <a:ext cx="7162800" cy="57150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8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изация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 повышение эффективности расходования бюджетных средств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0002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07181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85720" y="421481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214414" y="5500702"/>
            <a:ext cx="7162800" cy="71438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дрение принципов инициативного </a:t>
            </a:r>
            <a:r>
              <a:rPr lang="ru-RU" sz="18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ирования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85720" y="55721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728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FF"/>
              </a:solidFill>
            </a:endParaRPr>
          </a:p>
        </p:txBody>
      </p:sp>
      <p:sp>
        <p:nvSpPr>
          <p:cNvPr id="972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18" y="1285861"/>
          <a:ext cx="8501122" cy="5309245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847170"/>
                <a:gridCol w="641195"/>
                <a:gridCol w="721344"/>
                <a:gridCol w="721344"/>
                <a:gridCol w="641195"/>
                <a:gridCol w="641195"/>
                <a:gridCol w="641195"/>
                <a:gridCol w="646484"/>
              </a:tblGrid>
              <a:tr h="176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-ни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6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4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дворовых территор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336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граждан, вовлеченных в реализацию </a:t>
                      </a:r>
                      <a:r>
                        <a:rPr lang="ru-RU" sz="1200" dirty="0" smtClean="0"/>
                        <a:t>мероприят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 94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5 2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 5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8 7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 9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3 11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424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1200" dirty="0" smtClean="0"/>
                        <a:t>города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руб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8,9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ед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 6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 9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7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0 3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</a:t>
                      </a:r>
                      <a:r>
                        <a:rPr lang="ru-RU" sz="1200" dirty="0" smtClean="0"/>
                        <a:t>12 41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1200" dirty="0" smtClean="0"/>
                        <a:t>Железноводске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8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+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+7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9512" y="1124744"/>
          <a:ext cx="8784976" cy="503928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81114"/>
                <a:gridCol w="2278397"/>
                <a:gridCol w="1239684"/>
                <a:gridCol w="1166756"/>
                <a:gridCol w="145844"/>
                <a:gridCol w="510455"/>
                <a:gridCol w="510454"/>
                <a:gridCol w="437532"/>
                <a:gridCol w="1093831"/>
                <a:gridCol w="1020909"/>
              </a:tblGrid>
              <a:tr h="51282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сирова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965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822">
                <a:tc gridSpan="10">
                  <a:txBody>
                    <a:bodyPr/>
                    <a:lstStyle/>
                    <a:p>
                      <a:pPr algn="ctr"/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 Железноводска Ставропольского края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6228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3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троительство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бъекта «Средняя 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щеобразова-тельная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школа на 500 мест в жилом районе Капельница, города-курорта Железноводска, Ставропольского края»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214422"/>
          <a:ext cx="8572500" cy="454700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142875"/>
                <a:gridCol w="500063"/>
                <a:gridCol w="500062"/>
                <a:gridCol w="428625"/>
                <a:gridCol w="220663"/>
                <a:gridCol w="850900"/>
                <a:gridCol w="1000125"/>
              </a:tblGrid>
              <a:tr h="6304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115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30882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997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обретение благоустроенного жилого помещения в муниципальную собственность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дминистрация города-курорта     Железноводска Ставропольского края 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род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квартир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40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307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423257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8641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582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865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сходы на строительство (реконструкцию, техническое перевооружение) дорожных объектов муниципальной собственности 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тановоч-ных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ункт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81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9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490141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738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41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347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V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транспортной системы и охраны окружающей среды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47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, техническое перевооружение) дорожных объектов муниципальной собств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 остановочных пунк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57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4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его по городской адресной инвестиционной программе: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4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врополь-ского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рая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7643834" y="171448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1809208">
            <a:off x="3328217" y="1691173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428728" y="142852"/>
            <a:ext cx="7215238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2844" y="5000636"/>
            <a:ext cx="8858312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0 году осуществлено погашение банковского кредита в сумме 5,0 млн. рублей, бюджетного кредита  в сумме 3,3 млн. рублей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01.01.202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, на 01.01.2022 г.0 на 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на 01.01.2024 г.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внутренне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251520" y="1268760"/>
          <a:ext cx="8501122" cy="4000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785786" y="1071546"/>
            <a:ext cx="7929619" cy="5210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chemeClr val="bg1"/>
                </a:solidFill>
              </a:rPr>
              <a:t>Контактная информация </a:t>
            </a:r>
          </a:p>
          <a:p>
            <a:pPr algn="ctr"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3200" i="1" dirty="0">
                <a:solidFill>
                  <a:schemeClr val="bg1"/>
                </a:solidFill>
              </a:rPr>
              <a:t>Финансового управления администрации города-курорта Железноводска Ставропольского края</a:t>
            </a:r>
          </a:p>
          <a:p>
            <a:pPr>
              <a:defRPr/>
            </a:pPr>
            <a:endParaRPr lang="ru-RU" sz="3200" b="1" dirty="0">
              <a:solidFill>
                <a:schemeClr val="bg1"/>
              </a:solidFill>
            </a:endParaRPr>
          </a:p>
          <a:p>
            <a:pPr marL="1160463" indent="-1160463"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:</a:t>
            </a:r>
            <a:r>
              <a:rPr lang="ru-RU" sz="2400" dirty="0">
                <a:solidFill>
                  <a:schemeClr val="bg1"/>
                </a:solidFill>
              </a:rPr>
              <a:t> 357401, Ставропольский край, г. Железноводск,  </a:t>
            </a:r>
          </a:p>
          <a:p>
            <a:pPr marL="1160463" indent="-173038">
              <a:defRPr/>
            </a:pPr>
            <a:r>
              <a:rPr lang="ru-RU" sz="2400" dirty="0">
                <a:solidFill>
                  <a:schemeClr val="bg1"/>
                </a:solidFill>
              </a:rPr>
              <a:t>ул. Ленина, д.1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Телефон: </a:t>
            </a:r>
            <a:r>
              <a:rPr lang="ru-RU" sz="2400" dirty="0">
                <a:solidFill>
                  <a:schemeClr val="bg1"/>
                </a:solidFill>
              </a:rPr>
              <a:t>(879-32) 4-30-85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Факс:</a:t>
            </a:r>
            <a:r>
              <a:rPr lang="ru-RU" sz="2400" dirty="0">
                <a:solidFill>
                  <a:schemeClr val="bg1"/>
                </a:solidFill>
              </a:rPr>
              <a:t> (879-32) 3-15-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 электронной почты:</a:t>
            </a:r>
            <a:r>
              <a:rPr lang="ru-RU" sz="2400" dirty="0">
                <a:solidFill>
                  <a:schemeClr val="bg1"/>
                </a:solidFill>
              </a:rPr>
              <a:t> </a:t>
            </a:r>
            <a:r>
              <a:rPr lang="ru-RU" sz="2400" dirty="0" err="1">
                <a:solidFill>
                  <a:schemeClr val="bg1"/>
                </a:solidFill>
              </a:rPr>
              <a:t>zhelfin@mail.ru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</a:p>
          <a:p>
            <a:pPr>
              <a:defRPr/>
            </a:pPr>
            <a:r>
              <a:rPr lang="ru-RU" sz="2800" dirty="0">
                <a:solidFill>
                  <a:srgbClr val="660033"/>
                </a:solidFill>
              </a:rPr>
              <a:t> 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290"/>
            <a:ext cx="9144000" cy="6865305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1214414" y="2143116"/>
            <a:ext cx="7162800" cy="10668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285852" y="4786322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управления муниципальными активами.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285852" y="5857892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налогового администрирования.</a:t>
            </a: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42886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4786322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85720" y="5857892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285720" y="378619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214414" y="378619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</a:rPr>
              <a:t>Оценка эффективности налоговых расходов бюджета город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26" name="Скругленный прямоугольник 25"/>
          <p:cNvSpPr/>
          <p:nvPr/>
        </p:nvSpPr>
        <p:spPr>
          <a:xfrm>
            <a:off x="522259" y="1214422"/>
            <a:ext cx="8478897" cy="32147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оддержание объема муниципального долга на оптимальном уровне, в рамках которого предполагается</a:t>
            </a:r>
            <a:r>
              <a:rPr lang="ru-RU" sz="1400" i="1" dirty="0" smtClean="0">
                <a:solidFill>
                  <a:schemeClr val="tx1"/>
                </a:solidFill>
              </a:rPr>
              <a:t>: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71472" y="4500570"/>
            <a:ext cx="8501122" cy="9144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Минимизация стоимости обслуживания муниципального долга, в рамках которой </a:t>
            </a:r>
            <a:r>
              <a:rPr lang="ru-RU" sz="1400" i="1" dirty="0" smtClean="0">
                <a:solidFill>
                  <a:schemeClr val="tx1"/>
                </a:solidFill>
              </a:rPr>
              <a:t>предполагается: управление ликвидностью единого счета бюджета город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анализа процентных ставок  на рынке кредитов в целях минимизации расходов бюджета; Осуществление заимствований в кредитных организациях;.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71472" y="5500702"/>
            <a:ext cx="8501122" cy="13017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350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ланирование графиков погашения долговых обязательств города-курорта Железноводска Ставропольского края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642910" y="142852"/>
            <a:ext cx="8286808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дол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71406" y="2500306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71406" y="485776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71406" y="592933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4009</TotalTime>
  <Words>8453</Words>
  <Application>Microsoft Office PowerPoint</Application>
  <PresentationFormat>Экран (4:3)</PresentationFormat>
  <Paragraphs>2546</Paragraphs>
  <Slides>76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6</vt:i4>
      </vt:variant>
    </vt:vector>
  </HeadingPairs>
  <TitlesOfParts>
    <vt:vector size="78" baseType="lpstr">
      <vt:lpstr>Поток</vt:lpstr>
      <vt:lpstr>Workshee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ZhRibSP</cp:lastModifiedBy>
  <cp:revision>3386</cp:revision>
  <dcterms:created xsi:type="dcterms:W3CDTF">2014-11-25T07:29:51Z</dcterms:created>
  <dcterms:modified xsi:type="dcterms:W3CDTF">2020-12-04T06:50:37Z</dcterms:modified>
</cp:coreProperties>
</file>